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31"/>
  </p:notesMasterIdLst>
  <p:handoutMasterIdLst>
    <p:handoutMasterId r:id="rId32"/>
  </p:handoutMasterIdLst>
  <p:sldIdLst>
    <p:sldId id="256" r:id="rId5"/>
    <p:sldId id="257" r:id="rId6"/>
    <p:sldId id="260" r:id="rId7"/>
    <p:sldId id="2141411178" r:id="rId8"/>
    <p:sldId id="2141411163" r:id="rId9"/>
    <p:sldId id="2141411170" r:id="rId10"/>
    <p:sldId id="2141411171" r:id="rId11"/>
    <p:sldId id="2147470200" r:id="rId12"/>
    <p:sldId id="2147471516" r:id="rId13"/>
    <p:sldId id="2141411162" r:id="rId14"/>
    <p:sldId id="2141411167" r:id="rId15"/>
    <p:sldId id="2147471517" r:id="rId16"/>
    <p:sldId id="2141411166" r:id="rId17"/>
    <p:sldId id="2141411169" r:id="rId18"/>
    <p:sldId id="2147471509" r:id="rId19"/>
    <p:sldId id="2141411165" r:id="rId20"/>
    <p:sldId id="2147471510" r:id="rId21"/>
    <p:sldId id="2147471508" r:id="rId22"/>
    <p:sldId id="2147471511" r:id="rId23"/>
    <p:sldId id="2147471512" r:id="rId24"/>
    <p:sldId id="2147471513" r:id="rId25"/>
    <p:sldId id="2147471514" r:id="rId26"/>
    <p:sldId id="2147471515" r:id="rId27"/>
    <p:sldId id="2147471507" r:id="rId28"/>
    <p:sldId id="2147471519" r:id="rId29"/>
    <p:sldId id="261" r:id="rId3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518A43C-26AD-4C3E-9A5B-95339BE3939D}">
          <p14:sldIdLst>
            <p14:sldId id="256"/>
            <p14:sldId id="257"/>
            <p14:sldId id="260"/>
            <p14:sldId id="2141411178"/>
          </p14:sldIdLst>
        </p14:section>
        <p14:section name="MQLs" id="{710897A3-EE73-4CE3-8A84-66B98DE3243B}">
          <p14:sldIdLst>
            <p14:sldId id="2141411163"/>
            <p14:sldId id="2141411170"/>
            <p14:sldId id="2141411171"/>
            <p14:sldId id="2147470200"/>
            <p14:sldId id="2147471516"/>
          </p14:sldIdLst>
        </p14:section>
        <p14:section name="Segmentation" id="{02516754-260E-4F9A-8C52-49FF492BF64C}">
          <p14:sldIdLst>
            <p14:sldId id="2141411162"/>
            <p14:sldId id="2141411167"/>
            <p14:sldId id="2147471517"/>
          </p14:sldIdLst>
        </p14:section>
        <p14:section name="Tracking and Reporting" id="{E5B24AF8-4780-4CAF-9F26-08BFBEFD7438}">
          <p14:sldIdLst>
            <p14:sldId id="2141411166"/>
            <p14:sldId id="2141411169"/>
            <p14:sldId id="2147471509"/>
          </p14:sldIdLst>
        </p14:section>
        <p14:section name="Email" id="{198B72DA-448C-4C62-B9CC-3A7FD1DA65F8}">
          <p14:sldIdLst>
            <p14:sldId id="2141411165"/>
            <p14:sldId id="2147471510"/>
          </p14:sldIdLst>
        </p14:section>
        <p14:section name="Other presentations / resources" id="{E3F05949-041A-4BAF-9D1A-2EA19FE6DA51}">
          <p14:sldIdLst>
            <p14:sldId id="2147471508"/>
            <p14:sldId id="2147471511"/>
            <p14:sldId id="2147471512"/>
            <p14:sldId id="2147471513"/>
            <p14:sldId id="2147471514"/>
            <p14:sldId id="2147471515"/>
            <p14:sldId id="2147471507"/>
            <p14:sldId id="2147471519"/>
            <p14:sldId id="2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DA291C"/>
    <a:srgbClr val="959CA0"/>
    <a:srgbClr val="FE8A12"/>
    <a:srgbClr val="F4C65A"/>
    <a:srgbClr val="FFE2C4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2/15/2023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2/15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1649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il Cuff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793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il Cuff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8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6852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5896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Garrett Brennan, Jon Deutsch, Erin Rabbit</a:t>
            </a:r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067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in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057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athya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1066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aliyah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213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err="1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ark_Rounded _Rectangle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4C53D69-3883-4CD7-B4A3-0EDE640877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3B6DCC28-D5BD-4271-A1CD-A5269AA52C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7A170F-D80C-4397-A709-AB5152D2159A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2" name="Freeform 6">
            <a:extLst>
              <a:ext uri="{FF2B5EF4-FFF2-40B4-BE49-F238E27FC236}">
                <a16:creationId xmlns:a16="http://schemas.microsoft.com/office/drawing/2014/main" id="{A3614197-F405-1D49-46A3-D9220CE8F654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3" name="Freeform 7">
            <a:extLst>
              <a:ext uri="{FF2B5EF4-FFF2-40B4-BE49-F238E27FC236}">
                <a16:creationId xmlns:a16="http://schemas.microsoft.com/office/drawing/2014/main" id="{12607981-6248-CF75-BFC3-98931F3EC252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565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_Rounded _Rectangl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875" y="5900911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6F8EA9A-81B1-48B5-8794-9C24108572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BA1E3B59-56D9-49DB-A0C9-2DF07AC82E5E}"/>
              </a:ext>
            </a:extLst>
          </p:cNvPr>
          <p:cNvSpPr>
            <a:spLocks/>
          </p:cNvSpPr>
          <p:nvPr userDrawn="1"/>
        </p:nvSpPr>
        <p:spPr bwMode="auto">
          <a:xfrm>
            <a:off x="9767522" y="-3175"/>
            <a:ext cx="2430828" cy="2257425"/>
          </a:xfrm>
          <a:custGeom>
            <a:avLst/>
            <a:gdLst>
              <a:gd name="T0" fmla="*/ 0 w 917"/>
              <a:gd name="T1" fmla="*/ 0 h 851"/>
              <a:gd name="T2" fmla="*/ 765 w 917"/>
              <a:gd name="T3" fmla="*/ 765 h 851"/>
              <a:gd name="T4" fmla="*/ 917 w 917"/>
              <a:gd name="T5" fmla="*/ 851 h 851"/>
              <a:gd name="T6" fmla="*/ 917 w 917"/>
              <a:gd name="T7" fmla="*/ 0 h 851"/>
              <a:gd name="T8" fmla="*/ 0 w 917"/>
              <a:gd name="T9" fmla="*/ 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7" h="851">
                <a:moveTo>
                  <a:pt x="0" y="0"/>
                </a:moveTo>
                <a:cubicBezTo>
                  <a:pt x="765" y="765"/>
                  <a:pt x="765" y="765"/>
                  <a:pt x="765" y="765"/>
                </a:cubicBezTo>
                <a:cubicBezTo>
                  <a:pt x="809" y="809"/>
                  <a:pt x="862" y="837"/>
                  <a:pt x="917" y="851"/>
                </a:cubicBezTo>
                <a:cubicBezTo>
                  <a:pt x="917" y="0"/>
                  <a:pt x="917" y="0"/>
                  <a:pt x="9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 sz="1600"/>
          </a:p>
        </p:txBody>
      </p:sp>
      <p:sp>
        <p:nvSpPr>
          <p:cNvPr id="43" name="Freeform 7">
            <a:extLst>
              <a:ext uri="{FF2B5EF4-FFF2-40B4-BE49-F238E27FC236}">
                <a16:creationId xmlns:a16="http://schemas.microsoft.com/office/drawing/2014/main" id="{CB1D6DC5-500F-4690-AD5C-93A625BA3724}"/>
              </a:ext>
            </a:extLst>
          </p:cNvPr>
          <p:cNvSpPr>
            <a:spLocks/>
          </p:cNvSpPr>
          <p:nvPr userDrawn="1"/>
        </p:nvSpPr>
        <p:spPr bwMode="auto">
          <a:xfrm>
            <a:off x="3217522" y="-3175"/>
            <a:ext cx="5490925" cy="2485573"/>
          </a:xfrm>
          <a:custGeom>
            <a:avLst/>
            <a:gdLst>
              <a:gd name="T0" fmla="*/ 1322 w 2181"/>
              <a:gd name="T1" fmla="*/ 859 h 987"/>
              <a:gd name="T2" fmla="*/ 2181 w 2181"/>
              <a:gd name="T3" fmla="*/ 0 h 987"/>
              <a:gd name="T4" fmla="*/ 0 w 2181"/>
              <a:gd name="T5" fmla="*/ 0 h 987"/>
              <a:gd name="T6" fmla="*/ 858 w 2181"/>
              <a:gd name="T7" fmla="*/ 859 h 987"/>
              <a:gd name="T8" fmla="*/ 1322 w 2181"/>
              <a:gd name="T9" fmla="*/ 859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1" h="987">
                <a:moveTo>
                  <a:pt x="1322" y="859"/>
                </a:moveTo>
                <a:cubicBezTo>
                  <a:pt x="2181" y="0"/>
                  <a:pt x="2181" y="0"/>
                  <a:pt x="2181" y="0"/>
                </a:cubicBezTo>
                <a:cubicBezTo>
                  <a:pt x="0" y="0"/>
                  <a:pt x="0" y="0"/>
                  <a:pt x="0" y="0"/>
                </a:cubicBezTo>
                <a:cubicBezTo>
                  <a:pt x="858" y="859"/>
                  <a:pt x="858" y="859"/>
                  <a:pt x="858" y="859"/>
                </a:cubicBezTo>
                <a:cubicBezTo>
                  <a:pt x="986" y="987"/>
                  <a:pt x="1194" y="987"/>
                  <a:pt x="1322" y="859"/>
                </a:cubicBezTo>
                <a:close/>
              </a:path>
            </a:pathLst>
          </a:custGeom>
          <a:solidFill>
            <a:schemeClr val="accent1">
              <a:lumMod val="75000"/>
              <a:alpha val="52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GB" sz="1600">
              <a:solidFill>
                <a:schemeClr val="lt1"/>
              </a:solidFill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AE1B4E0-B445-42BA-9CA9-4536768D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102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43DCC4E-402C-46AF-9555-0267C1C0A6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1527" y="132055"/>
            <a:ext cx="6530473" cy="6725702"/>
          </a:xfrm>
          <a:custGeom>
            <a:avLst/>
            <a:gdLst>
              <a:gd name="connsiteX0" fmla="*/ 3574701 w 6530473"/>
              <a:gd name="connsiteY0" fmla="*/ 0 h 6725702"/>
              <a:gd name="connsiteX1" fmla="*/ 4187015 w 6530473"/>
              <a:gd name="connsiteY1" fmla="*/ 254020 h 6725702"/>
              <a:gd name="connsiteX2" fmla="*/ 6317569 w 6530473"/>
              <a:gd name="connsiteY2" fmla="*/ 2385420 h 6725702"/>
              <a:gd name="connsiteX3" fmla="*/ 6530473 w 6530473"/>
              <a:gd name="connsiteY3" fmla="*/ 2598409 h 6725702"/>
              <a:gd name="connsiteX4" fmla="*/ 6530473 w 6530473"/>
              <a:gd name="connsiteY4" fmla="*/ 4551187 h 6725702"/>
              <a:gd name="connsiteX5" fmla="*/ 6526176 w 6530473"/>
              <a:gd name="connsiteY5" fmla="*/ 4555486 h 6725702"/>
              <a:gd name="connsiteX6" fmla="*/ 4529774 w 6530473"/>
              <a:gd name="connsiteY6" fmla="*/ 6552682 h 6725702"/>
              <a:gd name="connsiteX7" fmla="*/ 4356822 w 6530473"/>
              <a:gd name="connsiteY7" fmla="*/ 6725702 h 6725702"/>
              <a:gd name="connsiteX8" fmla="*/ 2792552 w 6530473"/>
              <a:gd name="connsiteY8" fmla="*/ 6725702 h 6725702"/>
              <a:gd name="connsiteX9" fmla="*/ 2779469 w 6530473"/>
              <a:gd name="connsiteY9" fmla="*/ 6712628 h 6725702"/>
              <a:gd name="connsiteX10" fmla="*/ 253920 w 6530473"/>
              <a:gd name="connsiteY10" fmla="*/ 4188679 h 6725702"/>
              <a:gd name="connsiteX11" fmla="*/ 253920 w 6530473"/>
              <a:gd name="connsiteY11" fmla="*/ 2960917 h 6725702"/>
              <a:gd name="connsiteX12" fmla="*/ 2962386 w 6530473"/>
              <a:gd name="connsiteY12" fmla="*/ 254020 h 6725702"/>
              <a:gd name="connsiteX13" fmla="*/ 3574701 w 6530473"/>
              <a:gd name="connsiteY13" fmla="*/ 0 h 67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30473" h="6725702">
                <a:moveTo>
                  <a:pt x="3574701" y="0"/>
                </a:moveTo>
                <a:cubicBezTo>
                  <a:pt x="3796218" y="0"/>
                  <a:pt x="4017736" y="84674"/>
                  <a:pt x="4187015" y="254020"/>
                </a:cubicBezTo>
                <a:cubicBezTo>
                  <a:pt x="4187015" y="254020"/>
                  <a:pt x="4187015" y="254020"/>
                  <a:pt x="6317569" y="2385420"/>
                </a:cubicBezTo>
                <a:lnTo>
                  <a:pt x="6530473" y="2598409"/>
                </a:lnTo>
                <a:lnTo>
                  <a:pt x="6530473" y="4551187"/>
                </a:lnTo>
                <a:lnTo>
                  <a:pt x="6526176" y="4555486"/>
                </a:lnTo>
                <a:cubicBezTo>
                  <a:pt x="6497164" y="4584510"/>
                  <a:pt x="6272319" y="4809444"/>
                  <a:pt x="4529774" y="6552682"/>
                </a:cubicBezTo>
                <a:lnTo>
                  <a:pt x="4356822" y="6725702"/>
                </a:lnTo>
                <a:lnTo>
                  <a:pt x="2792552" y="6725702"/>
                </a:lnTo>
                <a:lnTo>
                  <a:pt x="2779469" y="6712628"/>
                </a:lnTo>
                <a:cubicBezTo>
                  <a:pt x="2659205" y="6592440"/>
                  <a:pt x="2178148" y="6111688"/>
                  <a:pt x="253920" y="4188679"/>
                </a:cubicBezTo>
                <a:cubicBezTo>
                  <a:pt x="-84639" y="3849986"/>
                  <a:pt x="-84639" y="3299610"/>
                  <a:pt x="253920" y="2960917"/>
                </a:cubicBezTo>
                <a:cubicBezTo>
                  <a:pt x="253920" y="2960917"/>
                  <a:pt x="253920" y="2960917"/>
                  <a:pt x="2962386" y="254020"/>
                </a:cubicBezTo>
                <a:cubicBezTo>
                  <a:pt x="3131666" y="84674"/>
                  <a:pt x="3353183" y="0"/>
                  <a:pt x="3574701" y="0"/>
                </a:cubicBezTo>
                <a:close/>
              </a:path>
            </a:pathLst>
          </a:cu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64275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2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8542230-2118-4F35-8D4D-BA4512169B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6264" y="0"/>
            <a:ext cx="7805737" cy="6858000"/>
          </a:xfrm>
          <a:custGeom>
            <a:avLst/>
            <a:gdLst>
              <a:gd name="connsiteX0" fmla="*/ 6856413 w 7805737"/>
              <a:gd name="connsiteY0" fmla="*/ 0 h 6858000"/>
              <a:gd name="connsiteX1" fmla="*/ 7805737 w 7805737"/>
              <a:gd name="connsiteY1" fmla="*/ 0 h 6858000"/>
              <a:gd name="connsiteX2" fmla="*/ 7805737 w 7805737"/>
              <a:gd name="connsiteY2" fmla="*/ 4537076 h 6858000"/>
              <a:gd name="connsiteX3" fmla="*/ 5486401 w 7805737"/>
              <a:gd name="connsiteY3" fmla="*/ 6858000 h 6858000"/>
              <a:gd name="connsiteX4" fmla="*/ 0 w 78057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5737" h="6858000">
                <a:moveTo>
                  <a:pt x="6856413" y="0"/>
                </a:moveTo>
                <a:lnTo>
                  <a:pt x="7805737" y="0"/>
                </a:lnTo>
                <a:lnTo>
                  <a:pt x="7805737" y="4537076"/>
                </a:lnTo>
                <a:lnTo>
                  <a:pt x="5486401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9FAE025-4537-4CB0-B951-A9527F5A7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628649"/>
            <a:ext cx="4954366" cy="39433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15310EE-DE2A-631D-8F9B-A33D194F77B1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2E0DAD0-C637-47E1-AF24-F5F9D0643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  <p:sp>
        <p:nvSpPr>
          <p:cNvPr id="14" name="Freeform 6">
            <a:extLst>
              <a:ext uri="{FF2B5EF4-FFF2-40B4-BE49-F238E27FC236}">
                <a16:creationId xmlns:a16="http://schemas.microsoft.com/office/drawing/2014/main" id="{21C70CAE-1C34-4EE5-8AA5-1F7E67E38438}"/>
              </a:ext>
            </a:extLst>
          </p:cNvPr>
          <p:cNvSpPr>
            <a:spLocks/>
          </p:cNvSpPr>
          <p:nvPr userDrawn="1"/>
        </p:nvSpPr>
        <p:spPr bwMode="auto">
          <a:xfrm>
            <a:off x="10922000" y="3706813"/>
            <a:ext cx="1270000" cy="2719388"/>
          </a:xfrm>
          <a:custGeom>
            <a:avLst/>
            <a:gdLst>
              <a:gd name="T0" fmla="*/ 160 w 480"/>
              <a:gd name="T1" fmla="*/ 319 h 1028"/>
              <a:gd name="T2" fmla="*/ 160 w 480"/>
              <a:gd name="T3" fmla="*/ 901 h 1028"/>
              <a:gd name="T4" fmla="*/ 160 w 480"/>
              <a:gd name="T5" fmla="*/ 901 h 1028"/>
              <a:gd name="T6" fmla="*/ 480 w 480"/>
              <a:gd name="T7" fmla="*/ 1020 h 1028"/>
              <a:gd name="T8" fmla="*/ 480 w 480"/>
              <a:gd name="T9" fmla="*/ 0 h 1028"/>
              <a:gd name="T10" fmla="*/ 160 w 480"/>
              <a:gd name="T11" fmla="*/ 319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0" h="1028">
                <a:moveTo>
                  <a:pt x="160" y="319"/>
                </a:moveTo>
                <a:cubicBezTo>
                  <a:pt x="0" y="479"/>
                  <a:pt x="0" y="741"/>
                  <a:pt x="160" y="901"/>
                </a:cubicBezTo>
                <a:cubicBezTo>
                  <a:pt x="160" y="901"/>
                  <a:pt x="160" y="901"/>
                  <a:pt x="160" y="901"/>
                </a:cubicBezTo>
                <a:cubicBezTo>
                  <a:pt x="248" y="988"/>
                  <a:pt x="365" y="1028"/>
                  <a:pt x="480" y="1020"/>
                </a:cubicBezTo>
                <a:cubicBezTo>
                  <a:pt x="480" y="0"/>
                  <a:pt x="480" y="0"/>
                  <a:pt x="480" y="0"/>
                </a:cubicBezTo>
                <a:lnTo>
                  <a:pt x="160" y="319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id="{CE943C94-8C69-41C1-9DEB-D49C80BA7E6B}"/>
              </a:ext>
            </a:extLst>
          </p:cNvPr>
          <p:cNvSpPr>
            <a:spLocks/>
          </p:cNvSpPr>
          <p:nvPr userDrawn="1"/>
        </p:nvSpPr>
        <p:spPr bwMode="auto">
          <a:xfrm>
            <a:off x="3498850" y="3409950"/>
            <a:ext cx="4984750" cy="3448050"/>
          </a:xfrm>
          <a:custGeom>
            <a:avLst/>
            <a:gdLst>
              <a:gd name="T0" fmla="*/ 1724 w 1884"/>
              <a:gd name="T1" fmla="*/ 160 h 1303"/>
              <a:gd name="T2" fmla="*/ 1143 w 1884"/>
              <a:gd name="T3" fmla="*/ 160 h 1303"/>
              <a:gd name="T4" fmla="*/ 0 w 1884"/>
              <a:gd name="T5" fmla="*/ 1303 h 1303"/>
              <a:gd name="T6" fmla="*/ 1164 w 1884"/>
              <a:gd name="T7" fmla="*/ 1303 h 1303"/>
              <a:gd name="T8" fmla="*/ 1724 w 1884"/>
              <a:gd name="T9" fmla="*/ 742 h 1303"/>
              <a:gd name="T10" fmla="*/ 1724 w 1884"/>
              <a:gd name="T11" fmla="*/ 160 h 1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84" h="1303">
                <a:moveTo>
                  <a:pt x="1724" y="160"/>
                </a:moveTo>
                <a:cubicBezTo>
                  <a:pt x="1564" y="0"/>
                  <a:pt x="1303" y="0"/>
                  <a:pt x="1143" y="160"/>
                </a:cubicBezTo>
                <a:cubicBezTo>
                  <a:pt x="0" y="1303"/>
                  <a:pt x="0" y="1303"/>
                  <a:pt x="0" y="1303"/>
                </a:cubicBezTo>
                <a:cubicBezTo>
                  <a:pt x="1164" y="1303"/>
                  <a:pt x="1164" y="1303"/>
                  <a:pt x="1164" y="1303"/>
                </a:cubicBezTo>
                <a:cubicBezTo>
                  <a:pt x="1724" y="742"/>
                  <a:pt x="1724" y="742"/>
                  <a:pt x="1724" y="742"/>
                </a:cubicBezTo>
                <a:cubicBezTo>
                  <a:pt x="1884" y="582"/>
                  <a:pt x="1884" y="320"/>
                  <a:pt x="1724" y="16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364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ark_Pill_Transition - IQVIA">
    <p:bg>
      <p:bgPr>
        <a:gradFill>
          <a:gsLst>
            <a:gs pos="20000">
              <a:srgbClr val="005587"/>
            </a:gs>
            <a:gs pos="80000">
              <a:srgbClr val="00A3E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B5D9F59-0F20-4E72-95E0-5E2043A9CE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32023" y="3175"/>
            <a:ext cx="9959977" cy="6851650"/>
          </a:xfrm>
          <a:custGeom>
            <a:avLst/>
            <a:gdLst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8232777 w 9959977"/>
              <a:gd name="connsiteY41" fmla="*/ 1 h 6851650"/>
              <a:gd name="connsiteX42" fmla="*/ 9550402 w 9959977"/>
              <a:gd name="connsiteY42" fmla="*/ 1 h 6851650"/>
              <a:gd name="connsiteX43" fmla="*/ 7992006 w 9959977"/>
              <a:gd name="connsiteY43" fmla="*/ 1558397 h 6851650"/>
              <a:gd name="connsiteX44" fmla="*/ 7333194 w 9959977"/>
              <a:gd name="connsiteY44" fmla="*/ 1558397 h 6851650"/>
              <a:gd name="connsiteX45" fmla="*/ 7333194 w 9959977"/>
              <a:gd name="connsiteY45" fmla="*/ 899584 h 6851650"/>
              <a:gd name="connsiteX46" fmla="*/ 8232777 w 9959977"/>
              <a:gd name="connsiteY46" fmla="*/ 1 h 6851650"/>
              <a:gd name="connsiteX47" fmla="*/ 6848850 w 9959977"/>
              <a:gd name="connsiteY47" fmla="*/ 1 h 6851650"/>
              <a:gd name="connsiteX48" fmla="*/ 8166102 w 9959977"/>
              <a:gd name="connsiteY48" fmla="*/ 1 h 6851650"/>
              <a:gd name="connsiteX49" fmla="*/ 5267089 w 9959977"/>
              <a:gd name="connsiteY49" fmla="*/ 2898839 h 6851650"/>
              <a:gd name="connsiteX50" fmla="*/ 4608463 w 9959977"/>
              <a:gd name="connsiteY50" fmla="*/ 2898839 h 6851650"/>
              <a:gd name="connsiteX51" fmla="*/ 4608463 w 9959977"/>
              <a:gd name="connsiteY51" fmla="*/ 2240253 h 6851650"/>
              <a:gd name="connsiteX52" fmla="*/ 6848850 w 9959977"/>
              <a:gd name="connsiteY52" fmla="*/ 1 h 6851650"/>
              <a:gd name="connsiteX53" fmla="*/ 5466013 w 9959977"/>
              <a:gd name="connsiteY53" fmla="*/ 1 h 6851650"/>
              <a:gd name="connsiteX54" fmla="*/ 6783390 w 9959977"/>
              <a:gd name="connsiteY54" fmla="*/ 1 h 6851650"/>
              <a:gd name="connsiteX55" fmla="*/ 4807324 w 9959977"/>
              <a:gd name="connsiteY55" fmla="*/ 1975953 h 6851650"/>
              <a:gd name="connsiteX56" fmla="*/ 4148635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4807324 w 9959977"/>
              <a:gd name="connsiteY56" fmla="*/ 1975953 h 6851650"/>
              <a:gd name="connsiteX57" fmla="*/ 4148635 w 9959977"/>
              <a:gd name="connsiteY57" fmla="*/ 1317302 h 6851650"/>
              <a:gd name="connsiteX58" fmla="*/ 5466013 w 9959977"/>
              <a:gd name="connsiteY58" fmla="*/ 1 h 6851650"/>
              <a:gd name="connsiteX59" fmla="*/ 9616109 w 9959977"/>
              <a:gd name="connsiteY59" fmla="*/ 0 h 6851650"/>
              <a:gd name="connsiteX60" fmla="*/ 9846474 w 9959977"/>
              <a:gd name="connsiteY60" fmla="*/ 0 h 6851650"/>
              <a:gd name="connsiteX61" fmla="*/ 9959977 w 9959977"/>
              <a:gd name="connsiteY61" fmla="*/ 0 h 6851650"/>
              <a:gd name="connsiteX62" fmla="*/ 9959977 w 9959977"/>
              <a:gd name="connsiteY62" fmla="*/ 973588 h 6851650"/>
              <a:gd name="connsiteX63" fmla="*/ 9958695 w 9959977"/>
              <a:gd name="connsiteY63" fmla="*/ 974871 h 6851650"/>
              <a:gd name="connsiteX64" fmla="*/ 4704076 w 9959977"/>
              <a:gd name="connsiteY64" fmla="*/ 6230423 h 6851650"/>
              <a:gd name="connsiteX65" fmla="*/ 4045435 w 9959977"/>
              <a:gd name="connsiteY65" fmla="*/ 6230423 h 6851650"/>
              <a:gd name="connsiteX66" fmla="*/ 4045435 w 9959977"/>
              <a:gd name="connsiteY66" fmla="*/ 5571665 h 6851650"/>
              <a:gd name="connsiteX67" fmla="*/ 9616109 w 9959977"/>
              <a:gd name="connsiteY67" fmla="*/ 0 h 6851650"/>
              <a:gd name="connsiteX0" fmla="*/ 3684051 w 9959977"/>
              <a:gd name="connsiteY0" fmla="*/ 6224330 h 6949226"/>
              <a:gd name="connsiteX1" fmla="*/ 4014328 w 9959977"/>
              <a:gd name="connsiteY1" fmla="*/ 6359452 h 6949226"/>
              <a:gd name="connsiteX2" fmla="*/ 4108019 w 9959977"/>
              <a:gd name="connsiteY2" fmla="*/ 6884865 h 6949226"/>
              <a:gd name="connsiteX3" fmla="*/ 4070889 w 9959977"/>
              <a:gd name="connsiteY3" fmla="*/ 6949226 h 6949226"/>
              <a:gd name="connsiteX4" fmla="*/ 2767005 w 9959977"/>
              <a:gd name="connsiteY4" fmla="*/ 6949226 h 6949226"/>
              <a:gd name="connsiteX5" fmla="*/ 2769964 w 9959977"/>
              <a:gd name="connsiteY5" fmla="*/ 6946263 h 6949226"/>
              <a:gd name="connsiteX6" fmla="*/ 3355758 w 9959977"/>
              <a:gd name="connsiteY6" fmla="*/ 6359452 h 6949226"/>
              <a:gd name="connsiteX7" fmla="*/ 3684051 w 9959977"/>
              <a:gd name="connsiteY7" fmla="*/ 6224330 h 6949226"/>
              <a:gd name="connsiteX8" fmla="*/ 7314695 w 9959977"/>
              <a:gd name="connsiteY8" fmla="*/ 3976368 h 6949226"/>
              <a:gd name="connsiteX9" fmla="*/ 7644951 w 9959977"/>
              <a:gd name="connsiteY9" fmla="*/ 4111306 h 6949226"/>
              <a:gd name="connsiteX10" fmla="*/ 7644951 w 9959977"/>
              <a:gd name="connsiteY10" fmla="*/ 4770119 h 6949226"/>
              <a:gd name="connsiteX11" fmla="*/ 5658899 w 9959977"/>
              <a:gd name="connsiteY11" fmla="*/ 6757027 h 6949226"/>
              <a:gd name="connsiteX12" fmla="*/ 5466782 w 9959977"/>
              <a:gd name="connsiteY12" fmla="*/ 6949226 h 6949226"/>
              <a:gd name="connsiteX13" fmla="*/ 4149726 w 9959977"/>
              <a:gd name="connsiteY13" fmla="*/ 6949226 h 6949226"/>
              <a:gd name="connsiteX14" fmla="*/ 4162118 w 9959977"/>
              <a:gd name="connsiteY14" fmla="*/ 6936828 h 6949226"/>
              <a:gd name="connsiteX15" fmla="*/ 6986422 w 9959977"/>
              <a:gd name="connsiteY15" fmla="*/ 4111306 h 6949226"/>
              <a:gd name="connsiteX16" fmla="*/ 7314695 w 9959977"/>
              <a:gd name="connsiteY16" fmla="*/ 3976368 h 6949226"/>
              <a:gd name="connsiteX17" fmla="*/ 4241584 w 9959977"/>
              <a:gd name="connsiteY17" fmla="*/ 2901637 h 6949226"/>
              <a:gd name="connsiteX18" fmla="*/ 4569926 w 9959977"/>
              <a:gd name="connsiteY18" fmla="*/ 3036592 h 6949226"/>
              <a:gd name="connsiteX19" fmla="*/ 4569926 w 9959977"/>
              <a:gd name="connsiteY19" fmla="*/ 3695489 h 6949226"/>
              <a:gd name="connsiteX20" fmla="*/ 1607062 w 9959977"/>
              <a:gd name="connsiteY20" fmla="*/ 6659395 h 6949226"/>
              <a:gd name="connsiteX21" fmla="*/ 1317332 w 9959977"/>
              <a:gd name="connsiteY21" fmla="*/ 6949226 h 6949226"/>
              <a:gd name="connsiteX22" fmla="*/ 0 w 9959977"/>
              <a:gd name="connsiteY22" fmla="*/ 6949226 h 6949226"/>
              <a:gd name="connsiteX23" fmla="*/ 1304 w 9959977"/>
              <a:gd name="connsiteY23" fmla="*/ 6947922 h 6949226"/>
              <a:gd name="connsiteX24" fmla="*/ 3911259 w 9959977"/>
              <a:gd name="connsiteY24" fmla="*/ 3036592 h 6949226"/>
              <a:gd name="connsiteX25" fmla="*/ 4241584 w 9959977"/>
              <a:gd name="connsiteY25" fmla="*/ 2901637 h 6949226"/>
              <a:gd name="connsiteX26" fmla="*/ 6963726 w 9959977"/>
              <a:gd name="connsiteY26" fmla="*/ 1560198 h 6949226"/>
              <a:gd name="connsiteX27" fmla="*/ 7294067 w 9959977"/>
              <a:gd name="connsiteY27" fmla="*/ 1695149 h 6949226"/>
              <a:gd name="connsiteX28" fmla="*/ 7294067 w 9959977"/>
              <a:gd name="connsiteY28" fmla="*/ 2354025 h 6949226"/>
              <a:gd name="connsiteX29" fmla="*/ 3111703 w 9959977"/>
              <a:gd name="connsiteY29" fmla="*/ 6537522 h 6949226"/>
              <a:gd name="connsiteX30" fmla="*/ 2700111 w 9959977"/>
              <a:gd name="connsiteY30" fmla="*/ 6949226 h 6949226"/>
              <a:gd name="connsiteX31" fmla="*/ 1382715 w 9959977"/>
              <a:gd name="connsiteY31" fmla="*/ 6949226 h 6949226"/>
              <a:gd name="connsiteX32" fmla="*/ 1386637 w 9959977"/>
              <a:gd name="connsiteY32" fmla="*/ 6945303 h 6949226"/>
              <a:gd name="connsiteX33" fmla="*/ 6635369 w 9959977"/>
              <a:gd name="connsiteY33" fmla="*/ 1695149 h 6949226"/>
              <a:gd name="connsiteX34" fmla="*/ 6963726 w 9959977"/>
              <a:gd name="connsiteY34" fmla="*/ 1560198 h 6949226"/>
              <a:gd name="connsiteX35" fmla="*/ 9959977 w 9959977"/>
              <a:gd name="connsiteY35" fmla="*/ 1137390 h 6949226"/>
              <a:gd name="connsiteX36" fmla="*/ 9959977 w 9959977"/>
              <a:gd name="connsiteY36" fmla="*/ 2455015 h 6949226"/>
              <a:gd name="connsiteX37" fmla="*/ 9956795 w 9959977"/>
              <a:gd name="connsiteY37" fmla="*/ 2458197 h 6949226"/>
              <a:gd name="connsiteX38" fmla="*/ 8330144 w 9959977"/>
              <a:gd name="connsiteY38" fmla="*/ 4084847 h 6949226"/>
              <a:gd name="connsiteX39" fmla="*/ 7671332 w 9959977"/>
              <a:gd name="connsiteY39" fmla="*/ 4084847 h 6949226"/>
              <a:gd name="connsiteX40" fmla="*/ 7671332 w 9959977"/>
              <a:gd name="connsiteY40" fmla="*/ 3426035 h 6949226"/>
              <a:gd name="connsiteX41" fmla="*/ 9959977 w 9959977"/>
              <a:gd name="connsiteY41" fmla="*/ 1137390 h 6949226"/>
              <a:gd name="connsiteX42" fmla="*/ 8232777 w 9959977"/>
              <a:gd name="connsiteY42" fmla="*/ 97577 h 6949226"/>
              <a:gd name="connsiteX43" fmla="*/ 9550402 w 9959977"/>
              <a:gd name="connsiteY43" fmla="*/ 97577 h 6949226"/>
              <a:gd name="connsiteX44" fmla="*/ 7992006 w 9959977"/>
              <a:gd name="connsiteY44" fmla="*/ 1655973 h 6949226"/>
              <a:gd name="connsiteX45" fmla="*/ 7333194 w 9959977"/>
              <a:gd name="connsiteY45" fmla="*/ 1655973 h 6949226"/>
              <a:gd name="connsiteX46" fmla="*/ 7333194 w 9959977"/>
              <a:gd name="connsiteY46" fmla="*/ 997160 h 6949226"/>
              <a:gd name="connsiteX47" fmla="*/ 8232777 w 9959977"/>
              <a:gd name="connsiteY47" fmla="*/ 97577 h 6949226"/>
              <a:gd name="connsiteX48" fmla="*/ 6848850 w 9959977"/>
              <a:gd name="connsiteY48" fmla="*/ 97577 h 6949226"/>
              <a:gd name="connsiteX49" fmla="*/ 8166102 w 9959977"/>
              <a:gd name="connsiteY49" fmla="*/ 97577 h 6949226"/>
              <a:gd name="connsiteX50" fmla="*/ 5267089 w 9959977"/>
              <a:gd name="connsiteY50" fmla="*/ 2996415 h 6949226"/>
              <a:gd name="connsiteX51" fmla="*/ 4608463 w 9959977"/>
              <a:gd name="connsiteY51" fmla="*/ 2996415 h 6949226"/>
              <a:gd name="connsiteX52" fmla="*/ 4608463 w 9959977"/>
              <a:gd name="connsiteY52" fmla="*/ 2337829 h 6949226"/>
              <a:gd name="connsiteX53" fmla="*/ 6848850 w 9959977"/>
              <a:gd name="connsiteY53" fmla="*/ 97577 h 6949226"/>
              <a:gd name="connsiteX54" fmla="*/ 5466013 w 9959977"/>
              <a:gd name="connsiteY54" fmla="*/ 97577 h 6949226"/>
              <a:gd name="connsiteX55" fmla="*/ 6783390 w 9959977"/>
              <a:gd name="connsiteY55" fmla="*/ 97577 h 6949226"/>
              <a:gd name="connsiteX56" fmla="*/ 4148635 w 9959977"/>
              <a:gd name="connsiteY56" fmla="*/ 1414878 h 6949226"/>
              <a:gd name="connsiteX57" fmla="*/ 5466013 w 9959977"/>
              <a:gd name="connsiteY57" fmla="*/ 97577 h 6949226"/>
              <a:gd name="connsiteX58" fmla="*/ 9616109 w 9959977"/>
              <a:gd name="connsiteY58" fmla="*/ 97576 h 6949226"/>
              <a:gd name="connsiteX59" fmla="*/ 9846474 w 9959977"/>
              <a:gd name="connsiteY59" fmla="*/ 97576 h 6949226"/>
              <a:gd name="connsiteX60" fmla="*/ 9959977 w 9959977"/>
              <a:gd name="connsiteY60" fmla="*/ 97576 h 6949226"/>
              <a:gd name="connsiteX61" fmla="*/ 9959977 w 9959977"/>
              <a:gd name="connsiteY61" fmla="*/ 1071164 h 6949226"/>
              <a:gd name="connsiteX62" fmla="*/ 9958695 w 9959977"/>
              <a:gd name="connsiteY62" fmla="*/ 1072447 h 6949226"/>
              <a:gd name="connsiteX63" fmla="*/ 4704076 w 9959977"/>
              <a:gd name="connsiteY63" fmla="*/ 6327999 h 6949226"/>
              <a:gd name="connsiteX64" fmla="*/ 4045435 w 9959977"/>
              <a:gd name="connsiteY64" fmla="*/ 6327999 h 6949226"/>
              <a:gd name="connsiteX65" fmla="*/ 4045435 w 9959977"/>
              <a:gd name="connsiteY65" fmla="*/ 5669241 h 6949226"/>
              <a:gd name="connsiteX66" fmla="*/ 9616109 w 9959977"/>
              <a:gd name="connsiteY66" fmla="*/ 97576 h 6949226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5466013 w 9959977"/>
              <a:gd name="connsiteY54" fmla="*/ 1 h 6851650"/>
              <a:gd name="connsiteX55" fmla="*/ 6783390 w 9959977"/>
              <a:gd name="connsiteY55" fmla="*/ 1 h 6851650"/>
              <a:gd name="connsiteX56" fmla="*/ 5466013 w 9959977"/>
              <a:gd name="connsiteY56" fmla="*/ 1 h 6851650"/>
              <a:gd name="connsiteX57" fmla="*/ 9616109 w 9959977"/>
              <a:gd name="connsiteY57" fmla="*/ 0 h 6851650"/>
              <a:gd name="connsiteX58" fmla="*/ 9846474 w 9959977"/>
              <a:gd name="connsiteY58" fmla="*/ 0 h 6851650"/>
              <a:gd name="connsiteX59" fmla="*/ 9959977 w 9959977"/>
              <a:gd name="connsiteY59" fmla="*/ 0 h 6851650"/>
              <a:gd name="connsiteX60" fmla="*/ 9959977 w 9959977"/>
              <a:gd name="connsiteY60" fmla="*/ 973588 h 6851650"/>
              <a:gd name="connsiteX61" fmla="*/ 9958695 w 9959977"/>
              <a:gd name="connsiteY61" fmla="*/ 974871 h 6851650"/>
              <a:gd name="connsiteX62" fmla="*/ 4704076 w 9959977"/>
              <a:gd name="connsiteY62" fmla="*/ 6230423 h 6851650"/>
              <a:gd name="connsiteX63" fmla="*/ 4045435 w 9959977"/>
              <a:gd name="connsiteY63" fmla="*/ 6230423 h 6851650"/>
              <a:gd name="connsiteX64" fmla="*/ 4045435 w 9959977"/>
              <a:gd name="connsiteY64" fmla="*/ 5571665 h 6851650"/>
              <a:gd name="connsiteX65" fmla="*/ 9616109 w 9959977"/>
              <a:gd name="connsiteY65" fmla="*/ 0 h 6851650"/>
              <a:gd name="connsiteX0" fmla="*/ 3684051 w 9959977"/>
              <a:gd name="connsiteY0" fmla="*/ 6126754 h 6851650"/>
              <a:gd name="connsiteX1" fmla="*/ 4014328 w 9959977"/>
              <a:gd name="connsiteY1" fmla="*/ 6261876 h 6851650"/>
              <a:gd name="connsiteX2" fmla="*/ 4108019 w 9959977"/>
              <a:gd name="connsiteY2" fmla="*/ 6787289 h 6851650"/>
              <a:gd name="connsiteX3" fmla="*/ 4070889 w 9959977"/>
              <a:gd name="connsiteY3" fmla="*/ 6851650 h 6851650"/>
              <a:gd name="connsiteX4" fmla="*/ 2767005 w 9959977"/>
              <a:gd name="connsiteY4" fmla="*/ 6851650 h 6851650"/>
              <a:gd name="connsiteX5" fmla="*/ 2769964 w 9959977"/>
              <a:gd name="connsiteY5" fmla="*/ 6848687 h 6851650"/>
              <a:gd name="connsiteX6" fmla="*/ 3355758 w 9959977"/>
              <a:gd name="connsiteY6" fmla="*/ 6261876 h 6851650"/>
              <a:gd name="connsiteX7" fmla="*/ 3684051 w 9959977"/>
              <a:gd name="connsiteY7" fmla="*/ 6126754 h 6851650"/>
              <a:gd name="connsiteX8" fmla="*/ 7314695 w 9959977"/>
              <a:gd name="connsiteY8" fmla="*/ 3878792 h 6851650"/>
              <a:gd name="connsiteX9" fmla="*/ 7644951 w 9959977"/>
              <a:gd name="connsiteY9" fmla="*/ 4013730 h 6851650"/>
              <a:gd name="connsiteX10" fmla="*/ 7644951 w 9959977"/>
              <a:gd name="connsiteY10" fmla="*/ 4672543 h 6851650"/>
              <a:gd name="connsiteX11" fmla="*/ 5658899 w 9959977"/>
              <a:gd name="connsiteY11" fmla="*/ 6659451 h 6851650"/>
              <a:gd name="connsiteX12" fmla="*/ 5466782 w 9959977"/>
              <a:gd name="connsiteY12" fmla="*/ 6851650 h 6851650"/>
              <a:gd name="connsiteX13" fmla="*/ 4149726 w 9959977"/>
              <a:gd name="connsiteY13" fmla="*/ 6851650 h 6851650"/>
              <a:gd name="connsiteX14" fmla="*/ 4162118 w 9959977"/>
              <a:gd name="connsiteY14" fmla="*/ 6839252 h 6851650"/>
              <a:gd name="connsiteX15" fmla="*/ 6986422 w 9959977"/>
              <a:gd name="connsiteY15" fmla="*/ 4013730 h 6851650"/>
              <a:gd name="connsiteX16" fmla="*/ 7314695 w 9959977"/>
              <a:gd name="connsiteY16" fmla="*/ 3878792 h 6851650"/>
              <a:gd name="connsiteX17" fmla="*/ 4241584 w 9959977"/>
              <a:gd name="connsiteY17" fmla="*/ 2804061 h 6851650"/>
              <a:gd name="connsiteX18" fmla="*/ 4569926 w 9959977"/>
              <a:gd name="connsiteY18" fmla="*/ 2939016 h 6851650"/>
              <a:gd name="connsiteX19" fmla="*/ 4569926 w 9959977"/>
              <a:gd name="connsiteY19" fmla="*/ 3597913 h 6851650"/>
              <a:gd name="connsiteX20" fmla="*/ 1607062 w 9959977"/>
              <a:gd name="connsiteY20" fmla="*/ 6561819 h 6851650"/>
              <a:gd name="connsiteX21" fmla="*/ 1317332 w 9959977"/>
              <a:gd name="connsiteY21" fmla="*/ 6851650 h 6851650"/>
              <a:gd name="connsiteX22" fmla="*/ 0 w 9959977"/>
              <a:gd name="connsiteY22" fmla="*/ 6851650 h 6851650"/>
              <a:gd name="connsiteX23" fmla="*/ 1304 w 9959977"/>
              <a:gd name="connsiteY23" fmla="*/ 6850346 h 6851650"/>
              <a:gd name="connsiteX24" fmla="*/ 3911259 w 9959977"/>
              <a:gd name="connsiteY24" fmla="*/ 2939016 h 6851650"/>
              <a:gd name="connsiteX25" fmla="*/ 4241584 w 9959977"/>
              <a:gd name="connsiteY25" fmla="*/ 2804061 h 6851650"/>
              <a:gd name="connsiteX26" fmla="*/ 6963726 w 9959977"/>
              <a:gd name="connsiteY26" fmla="*/ 1462622 h 6851650"/>
              <a:gd name="connsiteX27" fmla="*/ 7294067 w 9959977"/>
              <a:gd name="connsiteY27" fmla="*/ 1597573 h 6851650"/>
              <a:gd name="connsiteX28" fmla="*/ 7294067 w 9959977"/>
              <a:gd name="connsiteY28" fmla="*/ 2256449 h 6851650"/>
              <a:gd name="connsiteX29" fmla="*/ 3111703 w 9959977"/>
              <a:gd name="connsiteY29" fmla="*/ 6439946 h 6851650"/>
              <a:gd name="connsiteX30" fmla="*/ 2700111 w 9959977"/>
              <a:gd name="connsiteY30" fmla="*/ 6851650 h 6851650"/>
              <a:gd name="connsiteX31" fmla="*/ 1382715 w 9959977"/>
              <a:gd name="connsiteY31" fmla="*/ 6851650 h 6851650"/>
              <a:gd name="connsiteX32" fmla="*/ 1386637 w 9959977"/>
              <a:gd name="connsiteY32" fmla="*/ 6847727 h 6851650"/>
              <a:gd name="connsiteX33" fmla="*/ 6635369 w 9959977"/>
              <a:gd name="connsiteY33" fmla="*/ 1597573 h 6851650"/>
              <a:gd name="connsiteX34" fmla="*/ 6963726 w 9959977"/>
              <a:gd name="connsiteY34" fmla="*/ 1462622 h 6851650"/>
              <a:gd name="connsiteX35" fmla="*/ 9959977 w 9959977"/>
              <a:gd name="connsiteY35" fmla="*/ 1039814 h 6851650"/>
              <a:gd name="connsiteX36" fmla="*/ 9959977 w 9959977"/>
              <a:gd name="connsiteY36" fmla="*/ 2357439 h 6851650"/>
              <a:gd name="connsiteX37" fmla="*/ 9956795 w 9959977"/>
              <a:gd name="connsiteY37" fmla="*/ 2360621 h 6851650"/>
              <a:gd name="connsiteX38" fmla="*/ 8330144 w 9959977"/>
              <a:gd name="connsiteY38" fmla="*/ 3987271 h 6851650"/>
              <a:gd name="connsiteX39" fmla="*/ 7671332 w 9959977"/>
              <a:gd name="connsiteY39" fmla="*/ 3987271 h 6851650"/>
              <a:gd name="connsiteX40" fmla="*/ 7671332 w 9959977"/>
              <a:gd name="connsiteY40" fmla="*/ 3328459 h 6851650"/>
              <a:gd name="connsiteX41" fmla="*/ 9959977 w 9959977"/>
              <a:gd name="connsiteY41" fmla="*/ 1039814 h 6851650"/>
              <a:gd name="connsiteX42" fmla="*/ 8232777 w 9959977"/>
              <a:gd name="connsiteY42" fmla="*/ 1 h 6851650"/>
              <a:gd name="connsiteX43" fmla="*/ 9550402 w 9959977"/>
              <a:gd name="connsiteY43" fmla="*/ 1 h 6851650"/>
              <a:gd name="connsiteX44" fmla="*/ 7992006 w 9959977"/>
              <a:gd name="connsiteY44" fmla="*/ 1558397 h 6851650"/>
              <a:gd name="connsiteX45" fmla="*/ 7333194 w 9959977"/>
              <a:gd name="connsiteY45" fmla="*/ 1558397 h 6851650"/>
              <a:gd name="connsiteX46" fmla="*/ 7333194 w 9959977"/>
              <a:gd name="connsiteY46" fmla="*/ 899584 h 6851650"/>
              <a:gd name="connsiteX47" fmla="*/ 8232777 w 9959977"/>
              <a:gd name="connsiteY47" fmla="*/ 1 h 6851650"/>
              <a:gd name="connsiteX48" fmla="*/ 6848850 w 9959977"/>
              <a:gd name="connsiteY48" fmla="*/ 1 h 6851650"/>
              <a:gd name="connsiteX49" fmla="*/ 8166102 w 9959977"/>
              <a:gd name="connsiteY49" fmla="*/ 1 h 6851650"/>
              <a:gd name="connsiteX50" fmla="*/ 5267089 w 9959977"/>
              <a:gd name="connsiteY50" fmla="*/ 2898839 h 6851650"/>
              <a:gd name="connsiteX51" fmla="*/ 4608463 w 9959977"/>
              <a:gd name="connsiteY51" fmla="*/ 2898839 h 6851650"/>
              <a:gd name="connsiteX52" fmla="*/ 4608463 w 9959977"/>
              <a:gd name="connsiteY52" fmla="*/ 2240253 h 6851650"/>
              <a:gd name="connsiteX53" fmla="*/ 6848850 w 9959977"/>
              <a:gd name="connsiteY53" fmla="*/ 1 h 6851650"/>
              <a:gd name="connsiteX54" fmla="*/ 9616109 w 9959977"/>
              <a:gd name="connsiteY54" fmla="*/ 0 h 6851650"/>
              <a:gd name="connsiteX55" fmla="*/ 9846474 w 9959977"/>
              <a:gd name="connsiteY55" fmla="*/ 0 h 6851650"/>
              <a:gd name="connsiteX56" fmla="*/ 9959977 w 9959977"/>
              <a:gd name="connsiteY56" fmla="*/ 0 h 6851650"/>
              <a:gd name="connsiteX57" fmla="*/ 9959977 w 9959977"/>
              <a:gd name="connsiteY57" fmla="*/ 973588 h 6851650"/>
              <a:gd name="connsiteX58" fmla="*/ 9958695 w 9959977"/>
              <a:gd name="connsiteY58" fmla="*/ 974871 h 6851650"/>
              <a:gd name="connsiteX59" fmla="*/ 4704076 w 9959977"/>
              <a:gd name="connsiteY59" fmla="*/ 6230423 h 6851650"/>
              <a:gd name="connsiteX60" fmla="*/ 4045435 w 9959977"/>
              <a:gd name="connsiteY60" fmla="*/ 6230423 h 6851650"/>
              <a:gd name="connsiteX61" fmla="*/ 4045435 w 9959977"/>
              <a:gd name="connsiteY61" fmla="*/ 5571665 h 6851650"/>
              <a:gd name="connsiteX62" fmla="*/ 9616109 w 9959977"/>
              <a:gd name="connsiteY62" fmla="*/ 0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959977" h="6851650">
                <a:moveTo>
                  <a:pt x="3684051" y="6126754"/>
                </a:moveTo>
                <a:cubicBezTo>
                  <a:pt x="3803400" y="6126754"/>
                  <a:pt x="3923080" y="6171795"/>
                  <a:pt x="4014328" y="6261876"/>
                </a:cubicBezTo>
                <a:cubicBezTo>
                  <a:pt x="4155497" y="6403290"/>
                  <a:pt x="4187318" y="6615701"/>
                  <a:pt x="4108019" y="6787289"/>
                </a:cubicBezTo>
                <a:lnTo>
                  <a:pt x="4070889" y="6851650"/>
                </a:lnTo>
                <a:lnTo>
                  <a:pt x="2767005" y="6851650"/>
                </a:lnTo>
                <a:lnTo>
                  <a:pt x="2769964" y="6848687"/>
                </a:lnTo>
                <a:lnTo>
                  <a:pt x="3355758" y="6261876"/>
                </a:lnTo>
                <a:cubicBezTo>
                  <a:pt x="3445683" y="6171795"/>
                  <a:pt x="3564702" y="6126754"/>
                  <a:pt x="3684051" y="6126754"/>
                </a:cubicBezTo>
                <a:close/>
                <a:moveTo>
                  <a:pt x="7314695" y="3878792"/>
                </a:moveTo>
                <a:cubicBezTo>
                  <a:pt x="7434037" y="3878792"/>
                  <a:pt x="7553709" y="3923771"/>
                  <a:pt x="7644951" y="4013730"/>
                </a:cubicBezTo>
                <a:cubicBezTo>
                  <a:pt x="7824790" y="4196292"/>
                  <a:pt x="7824790" y="4492626"/>
                  <a:pt x="7644951" y="4672543"/>
                </a:cubicBezTo>
                <a:lnTo>
                  <a:pt x="5658899" y="6659451"/>
                </a:lnTo>
                <a:lnTo>
                  <a:pt x="5466782" y="6851650"/>
                </a:lnTo>
                <a:lnTo>
                  <a:pt x="4149726" y="6851650"/>
                </a:lnTo>
                <a:lnTo>
                  <a:pt x="4162118" y="6839252"/>
                </a:lnTo>
                <a:lnTo>
                  <a:pt x="6986422" y="4013730"/>
                </a:lnTo>
                <a:cubicBezTo>
                  <a:pt x="7076342" y="3923771"/>
                  <a:pt x="7195353" y="3878792"/>
                  <a:pt x="7314695" y="3878792"/>
                </a:cubicBezTo>
                <a:close/>
                <a:moveTo>
                  <a:pt x="4241584" y="2804061"/>
                </a:moveTo>
                <a:cubicBezTo>
                  <a:pt x="4360951" y="2804061"/>
                  <a:pt x="4479987" y="2849046"/>
                  <a:pt x="4569926" y="2939016"/>
                </a:cubicBezTo>
                <a:cubicBezTo>
                  <a:pt x="4749802" y="3121602"/>
                  <a:pt x="4749802" y="3417973"/>
                  <a:pt x="4569926" y="3597913"/>
                </a:cubicBezTo>
                <a:lnTo>
                  <a:pt x="1607062" y="6561819"/>
                </a:lnTo>
                <a:lnTo>
                  <a:pt x="1317332" y="6851650"/>
                </a:lnTo>
                <a:lnTo>
                  <a:pt x="0" y="6851650"/>
                </a:lnTo>
                <a:lnTo>
                  <a:pt x="1304" y="6850346"/>
                </a:lnTo>
                <a:lnTo>
                  <a:pt x="3911259" y="2939016"/>
                </a:lnTo>
                <a:cubicBezTo>
                  <a:pt x="4002521" y="2849046"/>
                  <a:pt x="4122218" y="2804061"/>
                  <a:pt x="4241584" y="2804061"/>
                </a:cubicBezTo>
                <a:close/>
                <a:moveTo>
                  <a:pt x="6963726" y="1462622"/>
                </a:moveTo>
                <a:cubicBezTo>
                  <a:pt x="7083099" y="1462622"/>
                  <a:pt x="7202802" y="1507606"/>
                  <a:pt x="7294067" y="1597573"/>
                </a:cubicBezTo>
                <a:cubicBezTo>
                  <a:pt x="7473953" y="1780153"/>
                  <a:pt x="7473953" y="2076515"/>
                  <a:pt x="7294067" y="2256449"/>
                </a:cubicBezTo>
                <a:lnTo>
                  <a:pt x="3111703" y="6439946"/>
                </a:lnTo>
                <a:lnTo>
                  <a:pt x="2700111" y="6851650"/>
                </a:lnTo>
                <a:lnTo>
                  <a:pt x="1382715" y="6851650"/>
                </a:lnTo>
                <a:lnTo>
                  <a:pt x="1386637" y="6847727"/>
                </a:lnTo>
                <a:lnTo>
                  <a:pt x="6635369" y="1597573"/>
                </a:lnTo>
                <a:cubicBezTo>
                  <a:pt x="6725312" y="1507606"/>
                  <a:pt x="6844354" y="1462622"/>
                  <a:pt x="6963726" y="1462622"/>
                </a:cubicBezTo>
                <a:close/>
                <a:moveTo>
                  <a:pt x="9959977" y="1039814"/>
                </a:moveTo>
                <a:lnTo>
                  <a:pt x="9959977" y="2357439"/>
                </a:lnTo>
                <a:lnTo>
                  <a:pt x="9956795" y="2360621"/>
                </a:lnTo>
                <a:lnTo>
                  <a:pt x="8330144" y="3987271"/>
                </a:lnTo>
                <a:cubicBezTo>
                  <a:pt x="8150228" y="4167188"/>
                  <a:pt x="7851248" y="4167188"/>
                  <a:pt x="7671332" y="3987271"/>
                </a:cubicBezTo>
                <a:cubicBezTo>
                  <a:pt x="7491415" y="3807355"/>
                  <a:pt x="7491415" y="3511021"/>
                  <a:pt x="7671332" y="3328459"/>
                </a:cubicBezTo>
                <a:lnTo>
                  <a:pt x="9959977" y="1039814"/>
                </a:lnTo>
                <a:close/>
                <a:moveTo>
                  <a:pt x="8232777" y="1"/>
                </a:moveTo>
                <a:lnTo>
                  <a:pt x="9550402" y="1"/>
                </a:lnTo>
                <a:lnTo>
                  <a:pt x="7992006" y="1558397"/>
                </a:lnTo>
                <a:cubicBezTo>
                  <a:pt x="7812089" y="1738314"/>
                  <a:pt x="7513110" y="1738314"/>
                  <a:pt x="7333194" y="1558397"/>
                </a:cubicBezTo>
                <a:cubicBezTo>
                  <a:pt x="7153277" y="1378480"/>
                  <a:pt x="7153277" y="1082147"/>
                  <a:pt x="7333194" y="899584"/>
                </a:cubicBezTo>
                <a:lnTo>
                  <a:pt x="8232777" y="1"/>
                </a:lnTo>
                <a:close/>
                <a:moveTo>
                  <a:pt x="6848850" y="1"/>
                </a:moveTo>
                <a:lnTo>
                  <a:pt x="8166102" y="1"/>
                </a:lnTo>
                <a:lnTo>
                  <a:pt x="5267089" y="2898839"/>
                </a:lnTo>
                <a:cubicBezTo>
                  <a:pt x="5084578" y="3081339"/>
                  <a:pt x="4788329" y="3081339"/>
                  <a:pt x="4608463" y="2898839"/>
                </a:cubicBezTo>
                <a:cubicBezTo>
                  <a:pt x="4425952" y="2718983"/>
                  <a:pt x="4425952" y="2422752"/>
                  <a:pt x="4608463" y="2240253"/>
                </a:cubicBezTo>
                <a:lnTo>
                  <a:pt x="6848850" y="1"/>
                </a:lnTo>
                <a:close/>
                <a:moveTo>
                  <a:pt x="9616109" y="0"/>
                </a:moveTo>
                <a:lnTo>
                  <a:pt x="9846474" y="0"/>
                </a:lnTo>
                <a:lnTo>
                  <a:pt x="9959977" y="0"/>
                </a:lnTo>
                <a:lnTo>
                  <a:pt x="9959977" y="973588"/>
                </a:lnTo>
                <a:lnTo>
                  <a:pt x="9958695" y="974871"/>
                </a:lnTo>
                <a:lnTo>
                  <a:pt x="4704076" y="6230423"/>
                </a:lnTo>
                <a:cubicBezTo>
                  <a:pt x="4524206" y="6410325"/>
                  <a:pt x="4227950" y="6410325"/>
                  <a:pt x="4045435" y="6230423"/>
                </a:cubicBezTo>
                <a:cubicBezTo>
                  <a:pt x="3865565" y="6047876"/>
                  <a:pt x="3865565" y="5751567"/>
                  <a:pt x="4045435" y="5571665"/>
                </a:cubicBezTo>
                <a:lnTo>
                  <a:pt x="9616109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6175" y="5762798"/>
            <a:ext cx="2247900" cy="4064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D1012A8-A101-43B4-8E0C-3EA5BF2FF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7" y="628649"/>
            <a:ext cx="4954367" cy="396716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A1145C-6DFB-CE0C-121D-56EE9F47F2FF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53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Light_Pill_Transition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171F091-2361-4553-AFAD-4034FA5851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24189" y="0"/>
            <a:ext cx="9164637" cy="6858000"/>
          </a:xfrm>
          <a:custGeom>
            <a:avLst/>
            <a:gdLst>
              <a:gd name="connsiteX0" fmla="*/ 6317672 w 9164637"/>
              <a:gd name="connsiteY0" fmla="*/ 5860023 h 6858000"/>
              <a:gd name="connsiteX1" fmla="*/ 6760367 w 9164637"/>
              <a:gd name="connsiteY1" fmla="*/ 6042677 h 6858000"/>
              <a:gd name="connsiteX2" fmla="*/ 6879139 w 9164637"/>
              <a:gd name="connsiteY2" fmla="*/ 6761298 h 6858000"/>
              <a:gd name="connsiteX3" fmla="*/ 6821155 w 9164637"/>
              <a:gd name="connsiteY3" fmla="*/ 6858000 h 6858000"/>
              <a:gd name="connsiteX4" fmla="*/ 5060951 w 9164637"/>
              <a:gd name="connsiteY4" fmla="*/ 6858000 h 6858000"/>
              <a:gd name="connsiteX5" fmla="*/ 5062540 w 9164637"/>
              <a:gd name="connsiteY5" fmla="*/ 6856409 h 6858000"/>
              <a:gd name="connsiteX6" fmla="*/ 5874978 w 9164637"/>
              <a:gd name="connsiteY6" fmla="*/ 6042677 h 6858000"/>
              <a:gd name="connsiteX7" fmla="*/ 6317672 w 9164637"/>
              <a:gd name="connsiteY7" fmla="*/ 5860023 h 6858000"/>
              <a:gd name="connsiteX8" fmla="*/ 9164637 w 9164637"/>
              <a:gd name="connsiteY8" fmla="*/ 2754314 h 6858000"/>
              <a:gd name="connsiteX9" fmla="*/ 9164637 w 9164637"/>
              <a:gd name="connsiteY9" fmla="*/ 4521730 h 6858000"/>
              <a:gd name="connsiteX10" fmla="*/ 7670947 w 9164637"/>
              <a:gd name="connsiteY10" fmla="*/ 6016626 h 6858000"/>
              <a:gd name="connsiteX11" fmla="*/ 6785307 w 9164637"/>
              <a:gd name="connsiteY11" fmla="*/ 6016626 h 6858000"/>
              <a:gd name="connsiteX12" fmla="*/ 6785307 w 9164637"/>
              <a:gd name="connsiteY12" fmla="*/ 5130271 h 6858000"/>
              <a:gd name="connsiteX13" fmla="*/ 9127625 w 9164637"/>
              <a:gd name="connsiteY13" fmla="*/ 2786063 h 6858000"/>
              <a:gd name="connsiteX14" fmla="*/ 9164637 w 9164637"/>
              <a:gd name="connsiteY14" fmla="*/ 2754314 h 6858000"/>
              <a:gd name="connsiteX15" fmla="*/ 6292160 w 9164637"/>
              <a:gd name="connsiteY15" fmla="*/ 823516 h 6858000"/>
              <a:gd name="connsiteX16" fmla="*/ 6735270 w 9164637"/>
              <a:gd name="connsiteY16" fmla="*/ 1008063 h 6858000"/>
              <a:gd name="connsiteX17" fmla="*/ 6735270 w 9164637"/>
              <a:gd name="connsiteY17" fmla="*/ 1894417 h 6858000"/>
              <a:gd name="connsiteX18" fmla="*/ 1772439 w 9164637"/>
              <a:gd name="connsiteY18" fmla="*/ 6858000 h 6858000"/>
              <a:gd name="connsiteX19" fmla="*/ 1768978 w 9164637"/>
              <a:gd name="connsiteY19" fmla="*/ 6858000 h 6858000"/>
              <a:gd name="connsiteX20" fmla="*/ 1760756 w 9164637"/>
              <a:gd name="connsiteY20" fmla="*/ 6858000 h 6858000"/>
              <a:gd name="connsiteX21" fmla="*/ 1744745 w 9164637"/>
              <a:gd name="connsiteY21" fmla="*/ 6858000 h 6858000"/>
              <a:gd name="connsiteX22" fmla="*/ 1718349 w 9164637"/>
              <a:gd name="connsiteY22" fmla="*/ 6858000 h 6858000"/>
              <a:gd name="connsiteX23" fmla="*/ 1678971 w 9164637"/>
              <a:gd name="connsiteY23" fmla="*/ 6858000 h 6858000"/>
              <a:gd name="connsiteX24" fmla="*/ 1624015 w 9164637"/>
              <a:gd name="connsiteY24" fmla="*/ 6858000 h 6858000"/>
              <a:gd name="connsiteX25" fmla="*/ 1550885 w 9164637"/>
              <a:gd name="connsiteY25" fmla="*/ 6858000 h 6858000"/>
              <a:gd name="connsiteX26" fmla="*/ 1456983 w 9164637"/>
              <a:gd name="connsiteY26" fmla="*/ 6858000 h 6858000"/>
              <a:gd name="connsiteX27" fmla="*/ 1339715 w 9164637"/>
              <a:gd name="connsiteY27" fmla="*/ 6858000 h 6858000"/>
              <a:gd name="connsiteX28" fmla="*/ 1196483 w 9164637"/>
              <a:gd name="connsiteY28" fmla="*/ 6858000 h 6858000"/>
              <a:gd name="connsiteX29" fmla="*/ 1024692 w 9164637"/>
              <a:gd name="connsiteY29" fmla="*/ 6858000 h 6858000"/>
              <a:gd name="connsiteX30" fmla="*/ 821744 w 9164637"/>
              <a:gd name="connsiteY30" fmla="*/ 6858000 h 6858000"/>
              <a:gd name="connsiteX31" fmla="*/ 585044 w 9164637"/>
              <a:gd name="connsiteY31" fmla="*/ 6858000 h 6858000"/>
              <a:gd name="connsiteX32" fmla="*/ 311995 w 9164637"/>
              <a:gd name="connsiteY32" fmla="*/ 6858000 h 6858000"/>
              <a:gd name="connsiteX33" fmla="*/ 161028 w 9164637"/>
              <a:gd name="connsiteY33" fmla="*/ 6858000 h 6858000"/>
              <a:gd name="connsiteX34" fmla="*/ 0 w 9164637"/>
              <a:gd name="connsiteY34" fmla="*/ 6858000 h 6858000"/>
              <a:gd name="connsiteX35" fmla="*/ 5849050 w 9164637"/>
              <a:gd name="connsiteY35" fmla="*/ 1008063 h 6858000"/>
              <a:gd name="connsiteX36" fmla="*/ 6292160 w 9164637"/>
              <a:gd name="connsiteY36" fmla="*/ 823516 h 6858000"/>
              <a:gd name="connsiteX37" fmla="*/ 8694737 w 9164637"/>
              <a:gd name="connsiteY37" fmla="*/ 0 h 6858000"/>
              <a:gd name="connsiteX38" fmla="*/ 9164637 w 9164637"/>
              <a:gd name="connsiteY38" fmla="*/ 0 h 6858000"/>
              <a:gd name="connsiteX39" fmla="*/ 9164637 w 9164637"/>
              <a:gd name="connsiteY39" fmla="*/ 2686050 h 6858000"/>
              <a:gd name="connsiteX40" fmla="*/ 4997450 w 9164637"/>
              <a:gd name="connsiteY40" fmla="*/ 6858000 h 6858000"/>
              <a:gd name="connsiteX41" fmla="*/ 1838325 w 9164637"/>
              <a:gd name="connsiteY41" fmla="*/ 6858000 h 6858000"/>
              <a:gd name="connsiteX42" fmla="*/ 6856244 w 9164637"/>
              <a:gd name="connsiteY42" fmla="*/ 0 h 6858000"/>
              <a:gd name="connsiteX43" fmla="*/ 6859705 w 9164637"/>
              <a:gd name="connsiteY43" fmla="*/ 0 h 6858000"/>
              <a:gd name="connsiteX44" fmla="*/ 6867923 w 9164637"/>
              <a:gd name="connsiteY44" fmla="*/ 0 h 6858000"/>
              <a:gd name="connsiteX45" fmla="*/ 6883929 w 9164637"/>
              <a:gd name="connsiteY45" fmla="*/ 0 h 6858000"/>
              <a:gd name="connsiteX46" fmla="*/ 6910316 w 9164637"/>
              <a:gd name="connsiteY46" fmla="*/ 0 h 6858000"/>
              <a:gd name="connsiteX47" fmla="*/ 6949680 w 9164637"/>
              <a:gd name="connsiteY47" fmla="*/ 0 h 6858000"/>
              <a:gd name="connsiteX48" fmla="*/ 7004616 w 9164637"/>
              <a:gd name="connsiteY48" fmla="*/ 0 h 6858000"/>
              <a:gd name="connsiteX49" fmla="*/ 7077721 w 9164637"/>
              <a:gd name="connsiteY49" fmla="*/ 0 h 6858000"/>
              <a:gd name="connsiteX50" fmla="*/ 7171590 w 9164637"/>
              <a:gd name="connsiteY50" fmla="*/ 0 h 6858000"/>
              <a:gd name="connsiteX51" fmla="*/ 7288817 w 9164637"/>
              <a:gd name="connsiteY51" fmla="*/ 0 h 6858000"/>
              <a:gd name="connsiteX52" fmla="*/ 7431998 w 9164637"/>
              <a:gd name="connsiteY52" fmla="*/ 0 h 6858000"/>
              <a:gd name="connsiteX53" fmla="*/ 7603730 w 9164637"/>
              <a:gd name="connsiteY53" fmla="*/ 0 h 6858000"/>
              <a:gd name="connsiteX54" fmla="*/ 7806606 w 9164637"/>
              <a:gd name="connsiteY54" fmla="*/ 0 h 6858000"/>
              <a:gd name="connsiteX55" fmla="*/ 8043224 w 9164637"/>
              <a:gd name="connsiteY55" fmla="*/ 0 h 6858000"/>
              <a:gd name="connsiteX56" fmla="*/ 8316177 w 9164637"/>
              <a:gd name="connsiteY56" fmla="*/ 0 h 6858000"/>
              <a:gd name="connsiteX57" fmla="*/ 8467091 w 9164637"/>
              <a:gd name="connsiteY57" fmla="*/ 0 h 6858000"/>
              <a:gd name="connsiteX58" fmla="*/ 8628062 w 9164637"/>
              <a:gd name="connsiteY58" fmla="*/ 0 h 6858000"/>
              <a:gd name="connsiteX59" fmla="*/ 7652240 w 9164637"/>
              <a:gd name="connsiteY59" fmla="*/ 973244 h 6858000"/>
              <a:gd name="connsiteX60" fmla="*/ 6766331 w 9164637"/>
              <a:gd name="connsiteY60" fmla="*/ 973244 h 6858000"/>
              <a:gd name="connsiteX61" fmla="*/ 6766331 w 9164637"/>
              <a:gd name="connsiteY61" fmla="*/ 87275 h 6858000"/>
              <a:gd name="connsiteX62" fmla="*/ 6856244 w 9164637"/>
              <a:gd name="connsiteY6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164637" h="6858000">
                <a:moveTo>
                  <a:pt x="6317672" y="5860023"/>
                </a:moveTo>
                <a:cubicBezTo>
                  <a:pt x="6478232" y="5860023"/>
                  <a:pt x="6638791" y="5920907"/>
                  <a:pt x="6760367" y="6042677"/>
                </a:cubicBezTo>
                <a:cubicBezTo>
                  <a:pt x="6952310" y="6234927"/>
                  <a:pt x="6992492" y="6526487"/>
                  <a:pt x="6879139" y="6761298"/>
                </a:cubicBezTo>
                <a:lnTo>
                  <a:pt x="6821155" y="6858000"/>
                </a:lnTo>
                <a:lnTo>
                  <a:pt x="5060951" y="6858000"/>
                </a:lnTo>
                <a:lnTo>
                  <a:pt x="5062540" y="6856409"/>
                </a:lnTo>
                <a:cubicBezTo>
                  <a:pt x="5073669" y="6845262"/>
                  <a:pt x="5162704" y="6756086"/>
                  <a:pt x="5874978" y="6042677"/>
                </a:cubicBezTo>
                <a:cubicBezTo>
                  <a:pt x="5996554" y="5920907"/>
                  <a:pt x="6157113" y="5860023"/>
                  <a:pt x="6317672" y="5860023"/>
                </a:cubicBezTo>
                <a:close/>
                <a:moveTo>
                  <a:pt x="9164637" y="2754314"/>
                </a:moveTo>
                <a:cubicBezTo>
                  <a:pt x="9164637" y="2754314"/>
                  <a:pt x="9164637" y="2754314"/>
                  <a:pt x="9164637" y="4521730"/>
                </a:cubicBezTo>
                <a:cubicBezTo>
                  <a:pt x="9164637" y="4521730"/>
                  <a:pt x="9164637" y="4521730"/>
                  <a:pt x="7670947" y="6016626"/>
                </a:cubicBezTo>
                <a:cubicBezTo>
                  <a:pt x="7427726" y="6262688"/>
                  <a:pt x="7028528" y="6262688"/>
                  <a:pt x="6785307" y="6016626"/>
                </a:cubicBezTo>
                <a:cubicBezTo>
                  <a:pt x="6542087" y="5773209"/>
                  <a:pt x="6542087" y="5376334"/>
                  <a:pt x="6785307" y="5130271"/>
                </a:cubicBezTo>
                <a:lnTo>
                  <a:pt x="9127625" y="2786063"/>
                </a:lnTo>
                <a:cubicBezTo>
                  <a:pt x="9140844" y="2775480"/>
                  <a:pt x="9151418" y="2764896"/>
                  <a:pt x="9164637" y="2754314"/>
                </a:cubicBezTo>
                <a:close/>
                <a:moveTo>
                  <a:pt x="6292160" y="823516"/>
                </a:moveTo>
                <a:cubicBezTo>
                  <a:pt x="6452870" y="823516"/>
                  <a:pt x="6613580" y="885032"/>
                  <a:pt x="6735270" y="1008063"/>
                </a:cubicBezTo>
                <a:cubicBezTo>
                  <a:pt x="6978650" y="1251479"/>
                  <a:pt x="6978650" y="1651000"/>
                  <a:pt x="6735270" y="1894417"/>
                </a:cubicBezTo>
                <a:cubicBezTo>
                  <a:pt x="6735270" y="1894417"/>
                  <a:pt x="6735270" y="1894417"/>
                  <a:pt x="1772439" y="6858000"/>
                </a:cubicBezTo>
                <a:lnTo>
                  <a:pt x="1768978" y="6858000"/>
                </a:lnTo>
                <a:lnTo>
                  <a:pt x="1760756" y="6858000"/>
                </a:lnTo>
                <a:lnTo>
                  <a:pt x="1744745" y="6858000"/>
                </a:lnTo>
                <a:lnTo>
                  <a:pt x="1718349" y="6858000"/>
                </a:lnTo>
                <a:lnTo>
                  <a:pt x="1678971" y="6858000"/>
                </a:lnTo>
                <a:lnTo>
                  <a:pt x="1624015" y="6858000"/>
                </a:lnTo>
                <a:lnTo>
                  <a:pt x="1550885" y="6858000"/>
                </a:lnTo>
                <a:lnTo>
                  <a:pt x="1456983" y="6858000"/>
                </a:lnTo>
                <a:lnTo>
                  <a:pt x="1339715" y="6858000"/>
                </a:lnTo>
                <a:lnTo>
                  <a:pt x="1196483" y="6858000"/>
                </a:lnTo>
                <a:lnTo>
                  <a:pt x="1024692" y="6858000"/>
                </a:lnTo>
                <a:lnTo>
                  <a:pt x="821744" y="6858000"/>
                </a:lnTo>
                <a:lnTo>
                  <a:pt x="585044" y="6858000"/>
                </a:lnTo>
                <a:lnTo>
                  <a:pt x="311995" y="6858000"/>
                </a:lnTo>
                <a:lnTo>
                  <a:pt x="161028" y="6858000"/>
                </a:lnTo>
                <a:lnTo>
                  <a:pt x="0" y="6858000"/>
                </a:lnTo>
                <a:cubicBezTo>
                  <a:pt x="0" y="6858000"/>
                  <a:pt x="0" y="6858000"/>
                  <a:pt x="5849050" y="1008063"/>
                </a:cubicBezTo>
                <a:cubicBezTo>
                  <a:pt x="5970740" y="885032"/>
                  <a:pt x="6131450" y="823516"/>
                  <a:pt x="6292160" y="823516"/>
                </a:cubicBezTo>
                <a:close/>
                <a:moveTo>
                  <a:pt x="8694737" y="0"/>
                </a:moveTo>
                <a:lnTo>
                  <a:pt x="9164637" y="0"/>
                </a:lnTo>
                <a:lnTo>
                  <a:pt x="9164637" y="2686050"/>
                </a:lnTo>
                <a:lnTo>
                  <a:pt x="4997450" y="6858000"/>
                </a:lnTo>
                <a:lnTo>
                  <a:pt x="1838325" y="6858000"/>
                </a:lnTo>
                <a:close/>
                <a:moveTo>
                  <a:pt x="6856244" y="0"/>
                </a:moveTo>
                <a:lnTo>
                  <a:pt x="6859705" y="0"/>
                </a:lnTo>
                <a:lnTo>
                  <a:pt x="6867923" y="0"/>
                </a:lnTo>
                <a:lnTo>
                  <a:pt x="6883929" y="0"/>
                </a:lnTo>
                <a:lnTo>
                  <a:pt x="6910316" y="0"/>
                </a:lnTo>
                <a:lnTo>
                  <a:pt x="6949680" y="0"/>
                </a:lnTo>
                <a:lnTo>
                  <a:pt x="7004616" y="0"/>
                </a:lnTo>
                <a:lnTo>
                  <a:pt x="7077721" y="0"/>
                </a:lnTo>
                <a:lnTo>
                  <a:pt x="7171590" y="0"/>
                </a:lnTo>
                <a:lnTo>
                  <a:pt x="7288817" y="0"/>
                </a:lnTo>
                <a:lnTo>
                  <a:pt x="7431998" y="0"/>
                </a:lnTo>
                <a:lnTo>
                  <a:pt x="7603730" y="0"/>
                </a:lnTo>
                <a:lnTo>
                  <a:pt x="7806606" y="0"/>
                </a:lnTo>
                <a:lnTo>
                  <a:pt x="8043224" y="0"/>
                </a:lnTo>
                <a:lnTo>
                  <a:pt x="8316177" y="0"/>
                </a:lnTo>
                <a:lnTo>
                  <a:pt x="8467091" y="0"/>
                </a:lnTo>
                <a:lnTo>
                  <a:pt x="8628062" y="0"/>
                </a:lnTo>
                <a:cubicBezTo>
                  <a:pt x="8628062" y="0"/>
                  <a:pt x="8628062" y="0"/>
                  <a:pt x="7652240" y="973244"/>
                </a:cubicBezTo>
                <a:cubicBezTo>
                  <a:pt x="7408946" y="1219200"/>
                  <a:pt x="7009626" y="1219200"/>
                  <a:pt x="6766331" y="973244"/>
                </a:cubicBezTo>
                <a:cubicBezTo>
                  <a:pt x="6523037" y="729933"/>
                  <a:pt x="6523037" y="330586"/>
                  <a:pt x="6766331" y="87275"/>
                </a:cubicBezTo>
                <a:cubicBezTo>
                  <a:pt x="6766331" y="87275"/>
                  <a:pt x="6766331" y="87275"/>
                  <a:pt x="6856244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4C68B8-E430-020A-E1AF-70E83332DB1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24157" y="331596"/>
            <a:ext cx="4637370" cy="478301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2D12F34-9160-43F5-BFCE-E2ED30C9BC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3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042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ought slides are 36pt </a:t>
            </a:r>
            <a:br>
              <a:rPr lang="en-US"/>
            </a:br>
            <a:r>
              <a:rPr lang="en-US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BAE22B14-6C76-49AB-BED0-5402C8FF1C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012"/>
            <a:ext cx="6016529" cy="6849226"/>
          </a:xfrm>
          <a:custGeom>
            <a:avLst/>
            <a:gdLst>
              <a:gd name="connsiteX0" fmla="*/ 1801388 w 6016529"/>
              <a:gd name="connsiteY0" fmla="*/ 5504671 h 6849226"/>
              <a:gd name="connsiteX1" fmla="*/ 2088635 w 6016529"/>
              <a:gd name="connsiteY1" fmla="*/ 5623907 h 6849226"/>
              <a:gd name="connsiteX2" fmla="*/ 2088635 w 6016529"/>
              <a:gd name="connsiteY2" fmla="*/ 6194943 h 6849226"/>
              <a:gd name="connsiteX3" fmla="*/ 1516579 w 6016529"/>
              <a:gd name="connsiteY3" fmla="*/ 6194943 h 6849226"/>
              <a:gd name="connsiteX4" fmla="*/ 1516579 w 6016529"/>
              <a:gd name="connsiteY4" fmla="*/ 5623907 h 6849226"/>
              <a:gd name="connsiteX5" fmla="*/ 1801388 w 6016529"/>
              <a:gd name="connsiteY5" fmla="*/ 5504671 h 6849226"/>
              <a:gd name="connsiteX6" fmla="*/ 1696584 w 6016529"/>
              <a:gd name="connsiteY6" fmla="*/ 4364868 h 6849226"/>
              <a:gd name="connsiteX7" fmla="*/ 1987195 w 6016529"/>
              <a:gd name="connsiteY7" fmla="*/ 4484170 h 6849226"/>
              <a:gd name="connsiteX8" fmla="*/ 1987195 w 6016529"/>
              <a:gd name="connsiteY8" fmla="*/ 5065263 h 6849226"/>
              <a:gd name="connsiteX9" fmla="*/ 360615 w 6016529"/>
              <a:gd name="connsiteY9" fmla="*/ 6691481 h 6849226"/>
              <a:gd name="connsiteX10" fmla="*/ 202834 w 6016529"/>
              <a:gd name="connsiteY10" fmla="*/ 6849226 h 6849226"/>
              <a:gd name="connsiteX11" fmla="*/ 1 w 6016529"/>
              <a:gd name="connsiteY11" fmla="*/ 6849226 h 6849226"/>
              <a:gd name="connsiteX12" fmla="*/ 1 w 6016529"/>
              <a:gd name="connsiteY12" fmla="*/ 6838974 h 6849226"/>
              <a:gd name="connsiteX13" fmla="*/ 1 w 6016529"/>
              <a:gd name="connsiteY13" fmla="*/ 5893076 h 6849226"/>
              <a:gd name="connsiteX14" fmla="*/ 1405973 w 6016529"/>
              <a:gd name="connsiteY14" fmla="*/ 4484170 h 6849226"/>
              <a:gd name="connsiteX15" fmla="*/ 1696584 w 6016529"/>
              <a:gd name="connsiteY15" fmla="*/ 4364868 h 6849226"/>
              <a:gd name="connsiteX16" fmla="*/ 5356050 w 6016529"/>
              <a:gd name="connsiteY16" fmla="*/ 3185373 h 6849226"/>
              <a:gd name="connsiteX17" fmla="*/ 5647937 w 6016529"/>
              <a:gd name="connsiteY17" fmla="*/ 3304731 h 6849226"/>
              <a:gd name="connsiteX18" fmla="*/ 5647937 w 6016529"/>
              <a:gd name="connsiteY18" fmla="*/ 3882843 h 6849226"/>
              <a:gd name="connsiteX19" fmla="*/ 4417055 w 6016529"/>
              <a:gd name="connsiteY19" fmla="*/ 5110519 h 6849226"/>
              <a:gd name="connsiteX20" fmla="*/ 3838963 w 6016529"/>
              <a:gd name="connsiteY20" fmla="*/ 5110519 h 6849226"/>
              <a:gd name="connsiteX21" fmla="*/ 3838963 w 6016529"/>
              <a:gd name="connsiteY21" fmla="*/ 4532407 h 6849226"/>
              <a:gd name="connsiteX22" fmla="*/ 5066597 w 6016529"/>
              <a:gd name="connsiteY22" fmla="*/ 3304731 h 6849226"/>
              <a:gd name="connsiteX23" fmla="*/ 5356050 w 6016529"/>
              <a:gd name="connsiteY23" fmla="*/ 3185373 h 6849226"/>
              <a:gd name="connsiteX24" fmla="*/ 5536808 w 6016529"/>
              <a:gd name="connsiteY24" fmla="*/ 1763773 h 6849226"/>
              <a:gd name="connsiteX25" fmla="*/ 5825779 w 6016529"/>
              <a:gd name="connsiteY25" fmla="*/ 1885531 h 6849226"/>
              <a:gd name="connsiteX26" fmla="*/ 5825779 w 6016529"/>
              <a:gd name="connsiteY26" fmla="*/ 2463473 h 6849226"/>
              <a:gd name="connsiteX27" fmla="*/ 2708786 w 6016529"/>
              <a:gd name="connsiteY27" fmla="*/ 5580466 h 6849226"/>
              <a:gd name="connsiteX28" fmla="*/ 2127597 w 6016529"/>
              <a:gd name="connsiteY28" fmla="*/ 5580466 h 6849226"/>
              <a:gd name="connsiteX29" fmla="*/ 2127597 w 6016529"/>
              <a:gd name="connsiteY29" fmla="*/ 5002523 h 6849226"/>
              <a:gd name="connsiteX30" fmla="*/ 5247836 w 6016529"/>
              <a:gd name="connsiteY30" fmla="*/ 1885531 h 6849226"/>
              <a:gd name="connsiteX31" fmla="*/ 5536808 w 6016529"/>
              <a:gd name="connsiteY31" fmla="*/ 1763773 h 6849226"/>
              <a:gd name="connsiteX32" fmla="*/ 3838081 w 6016529"/>
              <a:gd name="connsiteY32" fmla="*/ 983508 h 6849226"/>
              <a:gd name="connsiteX33" fmla="*/ 4127118 w 6016529"/>
              <a:gd name="connsiteY33" fmla="*/ 1102856 h 6849226"/>
              <a:gd name="connsiteX34" fmla="*/ 4127118 w 6016529"/>
              <a:gd name="connsiteY34" fmla="*/ 1684167 h 6849226"/>
              <a:gd name="connsiteX35" fmla="*/ 834045 w 6016529"/>
              <a:gd name="connsiteY35" fmla="*/ 4977183 h 6849226"/>
              <a:gd name="connsiteX36" fmla="*/ 255971 w 6016529"/>
              <a:gd name="connsiteY36" fmla="*/ 4977183 h 6849226"/>
              <a:gd name="connsiteX37" fmla="*/ 255971 w 6016529"/>
              <a:gd name="connsiteY37" fmla="*/ 4395872 h 6849226"/>
              <a:gd name="connsiteX38" fmla="*/ 3549044 w 6016529"/>
              <a:gd name="connsiteY38" fmla="*/ 1102856 h 6849226"/>
              <a:gd name="connsiteX39" fmla="*/ 3838081 w 6016529"/>
              <a:gd name="connsiteY39" fmla="*/ 983508 h 6849226"/>
              <a:gd name="connsiteX40" fmla="*/ 2974523 w 6016529"/>
              <a:gd name="connsiteY40" fmla="*/ 610447 h 6849226"/>
              <a:gd name="connsiteX41" fmla="*/ 3263533 w 6016529"/>
              <a:gd name="connsiteY41" fmla="*/ 729803 h 6849226"/>
              <a:gd name="connsiteX42" fmla="*/ 3263533 w 6016529"/>
              <a:gd name="connsiteY42" fmla="*/ 1307904 h 6849226"/>
              <a:gd name="connsiteX43" fmla="*/ 217569 w 6016529"/>
              <a:gd name="connsiteY43" fmla="*/ 4357551 h 6849226"/>
              <a:gd name="connsiteX44" fmla="*/ 0 w 6016529"/>
              <a:gd name="connsiteY44" fmla="*/ 4467975 h 6849226"/>
              <a:gd name="connsiteX45" fmla="*/ 0 w 6016529"/>
              <a:gd name="connsiteY45" fmla="*/ 4465920 h 6849226"/>
              <a:gd name="connsiteX46" fmla="*/ 0 w 6016529"/>
              <a:gd name="connsiteY46" fmla="*/ 4451533 h 6849226"/>
              <a:gd name="connsiteX47" fmla="*/ 0 w 6016529"/>
              <a:gd name="connsiteY47" fmla="*/ 4435862 h 6849226"/>
              <a:gd name="connsiteX48" fmla="*/ 0 w 6016529"/>
              <a:gd name="connsiteY48" fmla="*/ 4412484 h 6849226"/>
              <a:gd name="connsiteX49" fmla="*/ 0 w 6016529"/>
              <a:gd name="connsiteY49" fmla="*/ 4379858 h 6849226"/>
              <a:gd name="connsiteX50" fmla="*/ 0 w 6016529"/>
              <a:gd name="connsiteY50" fmla="*/ 4336441 h 6849226"/>
              <a:gd name="connsiteX51" fmla="*/ 0 w 6016529"/>
              <a:gd name="connsiteY51" fmla="*/ 4280693 h 6849226"/>
              <a:gd name="connsiteX52" fmla="*/ 0 w 6016529"/>
              <a:gd name="connsiteY52" fmla="*/ 4211072 h 6849226"/>
              <a:gd name="connsiteX53" fmla="*/ 0 w 6016529"/>
              <a:gd name="connsiteY53" fmla="*/ 4126038 h 6849226"/>
              <a:gd name="connsiteX54" fmla="*/ 0 w 6016529"/>
              <a:gd name="connsiteY54" fmla="*/ 4024047 h 6849226"/>
              <a:gd name="connsiteX55" fmla="*/ 0 w 6016529"/>
              <a:gd name="connsiteY55" fmla="*/ 3903560 h 6849226"/>
              <a:gd name="connsiteX56" fmla="*/ 0 w 6016529"/>
              <a:gd name="connsiteY56" fmla="*/ 3763034 h 6849226"/>
              <a:gd name="connsiteX57" fmla="*/ 0 w 6016529"/>
              <a:gd name="connsiteY57" fmla="*/ 3600928 h 6849226"/>
              <a:gd name="connsiteX58" fmla="*/ 0 w 6016529"/>
              <a:gd name="connsiteY58" fmla="*/ 3415701 h 6849226"/>
              <a:gd name="connsiteX59" fmla="*/ 2685514 w 6016529"/>
              <a:gd name="connsiteY59" fmla="*/ 729803 h 6849226"/>
              <a:gd name="connsiteX60" fmla="*/ 2974523 w 6016529"/>
              <a:gd name="connsiteY60" fmla="*/ 610447 h 6849226"/>
              <a:gd name="connsiteX61" fmla="*/ 5606520 w 6016529"/>
              <a:gd name="connsiteY61" fmla="*/ 454871 h 6849226"/>
              <a:gd name="connsiteX62" fmla="*/ 5897180 w 6016529"/>
              <a:gd name="connsiteY62" fmla="*/ 574220 h 6849226"/>
              <a:gd name="connsiteX63" fmla="*/ 5897180 w 6016529"/>
              <a:gd name="connsiteY63" fmla="*/ 1155542 h 6849226"/>
              <a:gd name="connsiteX64" fmla="*/ 2607355 w 6016529"/>
              <a:gd name="connsiteY64" fmla="*/ 4445367 h 6849226"/>
              <a:gd name="connsiteX65" fmla="*/ 2026033 w 6016529"/>
              <a:gd name="connsiteY65" fmla="*/ 4445367 h 6849226"/>
              <a:gd name="connsiteX66" fmla="*/ 2026033 w 6016529"/>
              <a:gd name="connsiteY66" fmla="*/ 3867293 h 6849226"/>
              <a:gd name="connsiteX67" fmla="*/ 5315859 w 6016529"/>
              <a:gd name="connsiteY67" fmla="*/ 574220 h 6849226"/>
              <a:gd name="connsiteX68" fmla="*/ 5606520 w 6016529"/>
              <a:gd name="connsiteY68" fmla="*/ 454871 h 6849226"/>
              <a:gd name="connsiteX69" fmla="*/ 3590538 w 6016529"/>
              <a:gd name="connsiteY69" fmla="*/ 0 h 6849226"/>
              <a:gd name="connsiteX70" fmla="*/ 3877809 w 6016529"/>
              <a:gd name="connsiteY70" fmla="*/ 116812 h 6849226"/>
              <a:gd name="connsiteX71" fmla="*/ 3877809 w 6016529"/>
              <a:gd name="connsiteY71" fmla="*/ 687893 h 6849226"/>
              <a:gd name="connsiteX72" fmla="*/ 3305704 w 6016529"/>
              <a:gd name="connsiteY72" fmla="*/ 687893 h 6849226"/>
              <a:gd name="connsiteX73" fmla="*/ 3305704 w 6016529"/>
              <a:gd name="connsiteY73" fmla="*/ 116812 h 6849226"/>
              <a:gd name="connsiteX74" fmla="*/ 3590538 w 6016529"/>
              <a:gd name="connsiteY74" fmla="*/ 0 h 6849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16529" h="6849226">
                <a:moveTo>
                  <a:pt x="1801388" y="5504671"/>
                </a:moveTo>
                <a:cubicBezTo>
                  <a:pt x="1904992" y="5504671"/>
                  <a:pt x="2009003" y="5544416"/>
                  <a:pt x="2088635" y="5623907"/>
                </a:cubicBezTo>
                <a:cubicBezTo>
                  <a:pt x="2247901" y="5779644"/>
                  <a:pt x="2247901" y="6035962"/>
                  <a:pt x="2088635" y="6194943"/>
                </a:cubicBezTo>
                <a:cubicBezTo>
                  <a:pt x="1929370" y="6353925"/>
                  <a:pt x="1672594" y="6353925"/>
                  <a:pt x="1516579" y="6194943"/>
                </a:cubicBezTo>
                <a:cubicBezTo>
                  <a:pt x="1357313" y="6035962"/>
                  <a:pt x="1357313" y="5779644"/>
                  <a:pt x="1516579" y="5623907"/>
                </a:cubicBezTo>
                <a:cubicBezTo>
                  <a:pt x="1594586" y="5544416"/>
                  <a:pt x="1697784" y="5504671"/>
                  <a:pt x="1801388" y="5504671"/>
                </a:cubicBezTo>
                <a:close/>
                <a:moveTo>
                  <a:pt x="1696584" y="4364868"/>
                </a:moveTo>
                <a:cubicBezTo>
                  <a:pt x="1802113" y="4364868"/>
                  <a:pt x="1907643" y="4404635"/>
                  <a:pt x="1987195" y="4484170"/>
                </a:cubicBezTo>
                <a:cubicBezTo>
                  <a:pt x="2146300" y="4643240"/>
                  <a:pt x="2146300" y="4906193"/>
                  <a:pt x="1987195" y="5065263"/>
                </a:cubicBezTo>
                <a:cubicBezTo>
                  <a:pt x="1987195" y="5065263"/>
                  <a:pt x="1987195" y="5065263"/>
                  <a:pt x="360615" y="6691481"/>
                </a:cubicBezTo>
                <a:lnTo>
                  <a:pt x="202834" y="6849226"/>
                </a:lnTo>
                <a:lnTo>
                  <a:pt x="1" y="6849226"/>
                </a:lnTo>
                <a:lnTo>
                  <a:pt x="1" y="6838974"/>
                </a:lnTo>
                <a:cubicBezTo>
                  <a:pt x="1" y="6793931"/>
                  <a:pt x="1" y="6613760"/>
                  <a:pt x="1" y="5893076"/>
                </a:cubicBezTo>
                <a:cubicBezTo>
                  <a:pt x="1" y="5893076"/>
                  <a:pt x="1" y="5893076"/>
                  <a:pt x="1405973" y="4484170"/>
                </a:cubicBezTo>
                <a:cubicBezTo>
                  <a:pt x="1485526" y="4404635"/>
                  <a:pt x="1591055" y="4364868"/>
                  <a:pt x="1696584" y="4364868"/>
                </a:cubicBezTo>
                <a:close/>
                <a:moveTo>
                  <a:pt x="5356050" y="3185373"/>
                </a:moveTo>
                <a:cubicBezTo>
                  <a:pt x="5461194" y="3185373"/>
                  <a:pt x="5566745" y="3225159"/>
                  <a:pt x="5647937" y="3304731"/>
                </a:cubicBezTo>
                <a:cubicBezTo>
                  <a:pt x="5807075" y="3463874"/>
                  <a:pt x="5807075" y="3723699"/>
                  <a:pt x="5647937" y="3882843"/>
                </a:cubicBezTo>
                <a:cubicBezTo>
                  <a:pt x="5647937" y="3882843"/>
                  <a:pt x="5647937" y="3882843"/>
                  <a:pt x="4417055" y="5110519"/>
                </a:cubicBezTo>
                <a:cubicBezTo>
                  <a:pt x="4257918" y="5269662"/>
                  <a:pt x="3998101" y="5269662"/>
                  <a:pt x="3838963" y="5110519"/>
                </a:cubicBezTo>
                <a:cubicBezTo>
                  <a:pt x="3679825" y="4951376"/>
                  <a:pt x="3679825" y="4691550"/>
                  <a:pt x="3838963" y="4532407"/>
                </a:cubicBezTo>
                <a:cubicBezTo>
                  <a:pt x="3838963" y="4532407"/>
                  <a:pt x="3838963" y="4532407"/>
                  <a:pt x="5066597" y="3304731"/>
                </a:cubicBezTo>
                <a:cubicBezTo>
                  <a:pt x="5146166" y="3225159"/>
                  <a:pt x="5250905" y="3185373"/>
                  <a:pt x="5356050" y="3185373"/>
                </a:cubicBezTo>
                <a:close/>
                <a:moveTo>
                  <a:pt x="5536808" y="1763773"/>
                </a:moveTo>
                <a:cubicBezTo>
                  <a:pt x="5641519" y="1763773"/>
                  <a:pt x="5746231" y="1804359"/>
                  <a:pt x="5825779" y="1885531"/>
                </a:cubicBezTo>
                <a:cubicBezTo>
                  <a:pt x="5984875" y="2044627"/>
                  <a:pt x="5984875" y="2304377"/>
                  <a:pt x="5825779" y="2463473"/>
                </a:cubicBezTo>
                <a:cubicBezTo>
                  <a:pt x="5825779" y="2463473"/>
                  <a:pt x="5825779" y="2463473"/>
                  <a:pt x="2708786" y="5580466"/>
                </a:cubicBezTo>
                <a:cubicBezTo>
                  <a:pt x="2549689" y="5739562"/>
                  <a:pt x="2286693" y="5739562"/>
                  <a:pt x="2127597" y="5580466"/>
                </a:cubicBezTo>
                <a:cubicBezTo>
                  <a:pt x="1968500" y="5421369"/>
                  <a:pt x="1968500" y="5161620"/>
                  <a:pt x="2127597" y="5002523"/>
                </a:cubicBezTo>
                <a:cubicBezTo>
                  <a:pt x="2127597" y="5002523"/>
                  <a:pt x="2127597" y="5002523"/>
                  <a:pt x="5247836" y="1885531"/>
                </a:cubicBezTo>
                <a:cubicBezTo>
                  <a:pt x="5327384" y="1804359"/>
                  <a:pt x="5432096" y="1763773"/>
                  <a:pt x="5536808" y="1763773"/>
                </a:cubicBezTo>
                <a:close/>
                <a:moveTo>
                  <a:pt x="3838081" y="983508"/>
                </a:moveTo>
                <a:cubicBezTo>
                  <a:pt x="3942817" y="983508"/>
                  <a:pt x="4047552" y="1023291"/>
                  <a:pt x="4127118" y="1102856"/>
                </a:cubicBezTo>
                <a:cubicBezTo>
                  <a:pt x="4286251" y="1265233"/>
                  <a:pt x="4286251" y="1525037"/>
                  <a:pt x="4127118" y="1684167"/>
                </a:cubicBezTo>
                <a:cubicBezTo>
                  <a:pt x="4127118" y="1684167"/>
                  <a:pt x="4127118" y="1684167"/>
                  <a:pt x="834045" y="4977183"/>
                </a:cubicBezTo>
                <a:cubicBezTo>
                  <a:pt x="674913" y="5136313"/>
                  <a:pt x="415104" y="5136313"/>
                  <a:pt x="255971" y="4977183"/>
                </a:cubicBezTo>
                <a:cubicBezTo>
                  <a:pt x="96839" y="4814806"/>
                  <a:pt x="96839" y="4555002"/>
                  <a:pt x="255971" y="4395872"/>
                </a:cubicBezTo>
                <a:cubicBezTo>
                  <a:pt x="255971" y="4395872"/>
                  <a:pt x="255971" y="4395872"/>
                  <a:pt x="3549044" y="1102856"/>
                </a:cubicBezTo>
                <a:cubicBezTo>
                  <a:pt x="3628611" y="1023291"/>
                  <a:pt x="3733346" y="983508"/>
                  <a:pt x="3838081" y="983508"/>
                </a:cubicBezTo>
                <a:close/>
                <a:moveTo>
                  <a:pt x="2974523" y="610447"/>
                </a:moveTo>
                <a:cubicBezTo>
                  <a:pt x="3079249" y="610447"/>
                  <a:pt x="3183974" y="650233"/>
                  <a:pt x="3263533" y="729803"/>
                </a:cubicBezTo>
                <a:cubicBezTo>
                  <a:pt x="3422650" y="888943"/>
                  <a:pt x="3422650" y="1148764"/>
                  <a:pt x="3263533" y="1307904"/>
                </a:cubicBezTo>
                <a:lnTo>
                  <a:pt x="217569" y="4357551"/>
                </a:lnTo>
                <a:cubicBezTo>
                  <a:pt x="155871" y="4419259"/>
                  <a:pt x="77935" y="4454984"/>
                  <a:pt x="0" y="4467975"/>
                </a:cubicBezTo>
                <a:lnTo>
                  <a:pt x="0" y="4465920"/>
                </a:lnTo>
                <a:lnTo>
                  <a:pt x="0" y="4451533"/>
                </a:lnTo>
                <a:lnTo>
                  <a:pt x="0" y="4435862"/>
                </a:lnTo>
                <a:lnTo>
                  <a:pt x="0" y="4412484"/>
                </a:lnTo>
                <a:lnTo>
                  <a:pt x="0" y="4379858"/>
                </a:lnTo>
                <a:lnTo>
                  <a:pt x="0" y="4336441"/>
                </a:lnTo>
                <a:lnTo>
                  <a:pt x="0" y="4280693"/>
                </a:lnTo>
                <a:lnTo>
                  <a:pt x="0" y="4211072"/>
                </a:lnTo>
                <a:lnTo>
                  <a:pt x="0" y="4126038"/>
                </a:lnTo>
                <a:lnTo>
                  <a:pt x="0" y="4024047"/>
                </a:lnTo>
                <a:lnTo>
                  <a:pt x="0" y="3903560"/>
                </a:lnTo>
                <a:lnTo>
                  <a:pt x="0" y="3763034"/>
                </a:lnTo>
                <a:lnTo>
                  <a:pt x="0" y="3600928"/>
                </a:lnTo>
                <a:lnTo>
                  <a:pt x="0" y="3415701"/>
                </a:lnTo>
                <a:cubicBezTo>
                  <a:pt x="0" y="3415701"/>
                  <a:pt x="0" y="3415701"/>
                  <a:pt x="2685514" y="729803"/>
                </a:cubicBezTo>
                <a:cubicBezTo>
                  <a:pt x="2765073" y="650233"/>
                  <a:pt x="2869798" y="610447"/>
                  <a:pt x="2974523" y="610447"/>
                </a:cubicBezTo>
                <a:close/>
                <a:moveTo>
                  <a:pt x="5606520" y="454871"/>
                </a:moveTo>
                <a:cubicBezTo>
                  <a:pt x="5712067" y="454871"/>
                  <a:pt x="5817614" y="494654"/>
                  <a:pt x="5897180" y="574220"/>
                </a:cubicBezTo>
                <a:cubicBezTo>
                  <a:pt x="6056313" y="733353"/>
                  <a:pt x="6056313" y="996409"/>
                  <a:pt x="5897180" y="1155542"/>
                </a:cubicBezTo>
                <a:cubicBezTo>
                  <a:pt x="5897180" y="1155542"/>
                  <a:pt x="5897180" y="1155542"/>
                  <a:pt x="2607355" y="4445367"/>
                </a:cubicBezTo>
                <a:cubicBezTo>
                  <a:pt x="2444975" y="4604500"/>
                  <a:pt x="2185166" y="4604500"/>
                  <a:pt x="2026033" y="4445367"/>
                </a:cubicBezTo>
                <a:cubicBezTo>
                  <a:pt x="1866901" y="4286235"/>
                  <a:pt x="1866901" y="4026426"/>
                  <a:pt x="2026033" y="3867293"/>
                </a:cubicBezTo>
                <a:cubicBezTo>
                  <a:pt x="2026033" y="3867293"/>
                  <a:pt x="2026033" y="3867293"/>
                  <a:pt x="5315859" y="574220"/>
                </a:cubicBezTo>
                <a:cubicBezTo>
                  <a:pt x="5395425" y="494654"/>
                  <a:pt x="5500972" y="454871"/>
                  <a:pt x="5606520" y="454871"/>
                </a:cubicBezTo>
                <a:close/>
                <a:moveTo>
                  <a:pt x="3590538" y="0"/>
                </a:moveTo>
                <a:cubicBezTo>
                  <a:pt x="3694151" y="0"/>
                  <a:pt x="3798170" y="38937"/>
                  <a:pt x="3877809" y="116812"/>
                </a:cubicBezTo>
                <a:cubicBezTo>
                  <a:pt x="4033838" y="275806"/>
                  <a:pt x="4033838" y="532144"/>
                  <a:pt x="3877809" y="687893"/>
                </a:cubicBezTo>
                <a:cubicBezTo>
                  <a:pt x="3718530" y="846887"/>
                  <a:pt x="3461733" y="846887"/>
                  <a:pt x="3305704" y="687893"/>
                </a:cubicBezTo>
                <a:cubicBezTo>
                  <a:pt x="3146425" y="532144"/>
                  <a:pt x="3146425" y="275806"/>
                  <a:pt x="3305704" y="116812"/>
                </a:cubicBezTo>
                <a:cubicBezTo>
                  <a:pt x="3383719" y="38937"/>
                  <a:pt x="3486925" y="0"/>
                  <a:pt x="3590538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E65771-7C11-4A8C-84F4-5192D613DB5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C836A395-FD4E-4917-8E6D-2BE4CAD835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7536598-0245-4E2C-BBB9-0BD097E797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884C363C-541B-44AF-8E1E-02C68EDA59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FCEAB378-025C-41A6-9397-DD16EC6FDF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258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8417A7B-0748-4FAB-875B-381521CB81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06507" y="1"/>
            <a:ext cx="5682319" cy="6857999"/>
          </a:xfrm>
          <a:custGeom>
            <a:avLst/>
            <a:gdLst>
              <a:gd name="connsiteX0" fmla="*/ 3882150 w 5682319"/>
              <a:gd name="connsiteY0" fmla="*/ 4074443 h 6857999"/>
              <a:gd name="connsiteX1" fmla="*/ 4169357 w 5682319"/>
              <a:gd name="connsiteY1" fmla="*/ 4191499 h 6857999"/>
              <a:gd name="connsiteX2" fmla="*/ 4169357 w 5682319"/>
              <a:gd name="connsiteY2" fmla="*/ 4765537 h 6857999"/>
              <a:gd name="connsiteX3" fmla="*/ 2075525 w 5682319"/>
              <a:gd name="connsiteY3" fmla="*/ 6857999 h 6857999"/>
              <a:gd name="connsiteX4" fmla="*/ 929344 w 5682319"/>
              <a:gd name="connsiteY4" fmla="*/ 6857999 h 6857999"/>
              <a:gd name="connsiteX5" fmla="*/ 3594943 w 5682319"/>
              <a:gd name="connsiteY5" fmla="*/ 4191499 h 6857999"/>
              <a:gd name="connsiteX6" fmla="*/ 3882150 w 5682319"/>
              <a:gd name="connsiteY6" fmla="*/ 4074443 h 6857999"/>
              <a:gd name="connsiteX7" fmla="*/ 5682319 w 5682319"/>
              <a:gd name="connsiteY7" fmla="*/ 3317874 h 6857999"/>
              <a:gd name="connsiteX8" fmla="*/ 5682319 w 5682319"/>
              <a:gd name="connsiteY8" fmla="*/ 4466166 h 6857999"/>
              <a:gd name="connsiteX9" fmla="*/ 3668064 w 5682319"/>
              <a:gd name="connsiteY9" fmla="*/ 6479645 h 6857999"/>
              <a:gd name="connsiteX10" fmla="*/ 3096343 w 5682319"/>
              <a:gd name="connsiteY10" fmla="*/ 6479645 h 6857999"/>
              <a:gd name="connsiteX11" fmla="*/ 3096343 w 5682319"/>
              <a:gd name="connsiteY11" fmla="*/ 5905499 h 6857999"/>
              <a:gd name="connsiteX12" fmla="*/ 4185522 w 5682319"/>
              <a:gd name="connsiteY12" fmla="*/ 1341442 h 6857999"/>
              <a:gd name="connsiteX13" fmla="*/ 4472627 w 5682319"/>
              <a:gd name="connsiteY13" fmla="*/ 1460518 h 6857999"/>
              <a:gd name="connsiteX14" fmla="*/ 4472627 w 5682319"/>
              <a:gd name="connsiteY14" fmla="*/ 2034728 h 6857999"/>
              <a:gd name="connsiteX15" fmla="*/ 691303 w 5682319"/>
              <a:gd name="connsiteY15" fmla="*/ 5816052 h 6857999"/>
              <a:gd name="connsiteX16" fmla="*/ 117092 w 5682319"/>
              <a:gd name="connsiteY16" fmla="*/ 5816052 h 6857999"/>
              <a:gd name="connsiteX17" fmla="*/ 117092 w 5682319"/>
              <a:gd name="connsiteY17" fmla="*/ 5241841 h 6857999"/>
              <a:gd name="connsiteX18" fmla="*/ 3898416 w 5682319"/>
              <a:gd name="connsiteY18" fmla="*/ 1460518 h 6857999"/>
              <a:gd name="connsiteX19" fmla="*/ 4185522 w 5682319"/>
              <a:gd name="connsiteY19" fmla="*/ 1341442 h 6857999"/>
              <a:gd name="connsiteX20" fmla="*/ 5682319 w 5682319"/>
              <a:gd name="connsiteY20" fmla="*/ 892174 h 6857999"/>
              <a:gd name="connsiteX21" fmla="*/ 5682319 w 5682319"/>
              <a:gd name="connsiteY21" fmla="*/ 2037686 h 6857999"/>
              <a:gd name="connsiteX22" fmla="*/ 2456186 w 5682319"/>
              <a:gd name="connsiteY22" fmla="*/ 5265226 h 6857999"/>
              <a:gd name="connsiteX23" fmla="*/ 1881887 w 5682319"/>
              <a:gd name="connsiteY23" fmla="*/ 5265226 h 6857999"/>
              <a:gd name="connsiteX24" fmla="*/ 1881887 w 5682319"/>
              <a:gd name="connsiteY24" fmla="*/ 4691147 h 6857999"/>
              <a:gd name="connsiteX25" fmla="*/ 5663793 w 5682319"/>
              <a:gd name="connsiteY25" fmla="*/ 910693 h 6857999"/>
              <a:gd name="connsiteX26" fmla="*/ 5682319 w 5682319"/>
              <a:gd name="connsiteY26" fmla="*/ 892174 h 6857999"/>
              <a:gd name="connsiteX27" fmla="*/ 4144645 w 5682319"/>
              <a:gd name="connsiteY27" fmla="*/ 0 h 6857999"/>
              <a:gd name="connsiteX28" fmla="*/ 5293380 w 5682319"/>
              <a:gd name="connsiteY28" fmla="*/ 0 h 6857999"/>
              <a:gd name="connsiteX29" fmla="*/ 5292555 w 5682319"/>
              <a:gd name="connsiteY29" fmla="*/ 824 h 6857999"/>
              <a:gd name="connsiteX30" fmla="*/ 1910701 w 5682319"/>
              <a:gd name="connsiteY30" fmla="*/ 3380869 h 6857999"/>
              <a:gd name="connsiteX31" fmla="*/ 1338981 w 5682319"/>
              <a:gd name="connsiteY31" fmla="*/ 3380869 h 6857999"/>
              <a:gd name="connsiteX32" fmla="*/ 1338981 w 5682319"/>
              <a:gd name="connsiteY32" fmla="*/ 2806808 h 6857999"/>
              <a:gd name="connsiteX33" fmla="*/ 3889749 w 5682319"/>
              <a:gd name="connsiteY33" fmla="*/ 25500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682319" h="6857999">
                <a:moveTo>
                  <a:pt x="3882150" y="4074443"/>
                </a:moveTo>
                <a:cubicBezTo>
                  <a:pt x="3986048" y="4074443"/>
                  <a:pt x="4089945" y="4113462"/>
                  <a:pt x="4169357" y="4191499"/>
                </a:cubicBezTo>
                <a:cubicBezTo>
                  <a:pt x="4328181" y="4350219"/>
                  <a:pt x="4328181" y="4609462"/>
                  <a:pt x="4169357" y="4765537"/>
                </a:cubicBezTo>
                <a:cubicBezTo>
                  <a:pt x="4169357" y="4765537"/>
                  <a:pt x="4169357" y="4765537"/>
                  <a:pt x="2075525" y="6857999"/>
                </a:cubicBezTo>
                <a:cubicBezTo>
                  <a:pt x="2075525" y="6857999"/>
                  <a:pt x="2075525" y="6857999"/>
                  <a:pt x="929344" y="6857999"/>
                </a:cubicBezTo>
                <a:cubicBezTo>
                  <a:pt x="929344" y="6857999"/>
                  <a:pt x="929344" y="6857999"/>
                  <a:pt x="3594943" y="4191499"/>
                </a:cubicBezTo>
                <a:cubicBezTo>
                  <a:pt x="3674355" y="4113462"/>
                  <a:pt x="3778252" y="4074443"/>
                  <a:pt x="3882150" y="4074443"/>
                </a:cubicBezTo>
                <a:close/>
                <a:moveTo>
                  <a:pt x="5682319" y="3317874"/>
                </a:moveTo>
                <a:cubicBezTo>
                  <a:pt x="5682319" y="3317874"/>
                  <a:pt x="5682319" y="3317874"/>
                  <a:pt x="5682319" y="4466166"/>
                </a:cubicBezTo>
                <a:cubicBezTo>
                  <a:pt x="5682319" y="4466166"/>
                  <a:pt x="5682319" y="4466166"/>
                  <a:pt x="3668064" y="6479645"/>
                </a:cubicBezTo>
                <a:cubicBezTo>
                  <a:pt x="3511899" y="6635749"/>
                  <a:pt x="3252508" y="6635749"/>
                  <a:pt x="3096343" y="6479645"/>
                </a:cubicBezTo>
                <a:cubicBezTo>
                  <a:pt x="2937532" y="6320895"/>
                  <a:pt x="2937532" y="6061603"/>
                  <a:pt x="3096343" y="5905499"/>
                </a:cubicBezTo>
                <a:close/>
                <a:moveTo>
                  <a:pt x="4185522" y="1341442"/>
                </a:moveTo>
                <a:cubicBezTo>
                  <a:pt x="4289382" y="1341442"/>
                  <a:pt x="4393243" y="1381134"/>
                  <a:pt x="4472627" y="1460518"/>
                </a:cubicBezTo>
                <a:cubicBezTo>
                  <a:pt x="4631395" y="1619285"/>
                  <a:pt x="4631395" y="1875960"/>
                  <a:pt x="4472627" y="2034728"/>
                </a:cubicBezTo>
                <a:cubicBezTo>
                  <a:pt x="4472627" y="2034728"/>
                  <a:pt x="4472627" y="2034728"/>
                  <a:pt x="691303" y="5816052"/>
                </a:cubicBezTo>
                <a:cubicBezTo>
                  <a:pt x="532535" y="5972174"/>
                  <a:pt x="275860" y="5972174"/>
                  <a:pt x="117092" y="5816052"/>
                </a:cubicBezTo>
                <a:cubicBezTo>
                  <a:pt x="-39030" y="5657284"/>
                  <a:pt x="-39030" y="5400609"/>
                  <a:pt x="117092" y="5241841"/>
                </a:cubicBezTo>
                <a:cubicBezTo>
                  <a:pt x="117092" y="5241841"/>
                  <a:pt x="117092" y="5241841"/>
                  <a:pt x="3898416" y="1460518"/>
                </a:cubicBezTo>
                <a:cubicBezTo>
                  <a:pt x="3977800" y="1381134"/>
                  <a:pt x="4081661" y="1341442"/>
                  <a:pt x="4185522" y="1341442"/>
                </a:cubicBezTo>
                <a:close/>
                <a:moveTo>
                  <a:pt x="5682319" y="892174"/>
                </a:moveTo>
                <a:cubicBezTo>
                  <a:pt x="5682319" y="892174"/>
                  <a:pt x="5682319" y="892174"/>
                  <a:pt x="5682319" y="2037686"/>
                </a:cubicBezTo>
                <a:cubicBezTo>
                  <a:pt x="5682319" y="2037686"/>
                  <a:pt x="5682319" y="2037686"/>
                  <a:pt x="2456186" y="5265226"/>
                </a:cubicBezTo>
                <a:cubicBezTo>
                  <a:pt x="2297393" y="5421312"/>
                  <a:pt x="2040679" y="5421312"/>
                  <a:pt x="1881887" y="5265226"/>
                </a:cubicBezTo>
                <a:cubicBezTo>
                  <a:pt x="1723094" y="5106495"/>
                  <a:pt x="1723094" y="4849879"/>
                  <a:pt x="1881887" y="4691147"/>
                </a:cubicBezTo>
                <a:lnTo>
                  <a:pt x="5663793" y="910693"/>
                </a:lnTo>
                <a:cubicBezTo>
                  <a:pt x="5669086" y="905402"/>
                  <a:pt x="5677026" y="900111"/>
                  <a:pt x="5682319" y="892174"/>
                </a:cubicBezTo>
                <a:close/>
                <a:moveTo>
                  <a:pt x="4144645" y="0"/>
                </a:moveTo>
                <a:lnTo>
                  <a:pt x="5293380" y="0"/>
                </a:lnTo>
                <a:lnTo>
                  <a:pt x="5292555" y="824"/>
                </a:lnTo>
                <a:cubicBezTo>
                  <a:pt x="5280167" y="13206"/>
                  <a:pt x="5081964" y="211303"/>
                  <a:pt x="1910701" y="3380869"/>
                </a:cubicBezTo>
                <a:cubicBezTo>
                  <a:pt x="1754537" y="3536949"/>
                  <a:pt x="1495145" y="3536949"/>
                  <a:pt x="1338981" y="3380869"/>
                </a:cubicBezTo>
                <a:cubicBezTo>
                  <a:pt x="1180169" y="3222143"/>
                  <a:pt x="1180169" y="2962889"/>
                  <a:pt x="1338981" y="2806808"/>
                </a:cubicBezTo>
                <a:cubicBezTo>
                  <a:pt x="1338981" y="2806808"/>
                  <a:pt x="1338981" y="2806808"/>
                  <a:pt x="3889749" y="2550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968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5DA7DB7-B22C-4B80-97B4-17A8ADF157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857737" y="0"/>
            <a:ext cx="6334262" cy="6858000"/>
          </a:xfrm>
          <a:custGeom>
            <a:avLst/>
            <a:gdLst>
              <a:gd name="connsiteX0" fmla="*/ 4013337 w 6334262"/>
              <a:gd name="connsiteY0" fmla="*/ 5842794 h 6858000"/>
              <a:gd name="connsiteX1" fmla="*/ 4330837 w 6334262"/>
              <a:gd name="connsiteY1" fmla="*/ 5973762 h 6858000"/>
              <a:gd name="connsiteX2" fmla="*/ 4330837 w 6334262"/>
              <a:gd name="connsiteY2" fmla="*/ 6608762 h 6858000"/>
              <a:gd name="connsiteX3" fmla="*/ 3695837 w 6334262"/>
              <a:gd name="connsiteY3" fmla="*/ 6608762 h 6858000"/>
              <a:gd name="connsiteX4" fmla="*/ 3695837 w 6334262"/>
              <a:gd name="connsiteY4" fmla="*/ 5973762 h 6858000"/>
              <a:gd name="connsiteX5" fmla="*/ 4013337 w 6334262"/>
              <a:gd name="connsiteY5" fmla="*/ 5842794 h 6858000"/>
              <a:gd name="connsiteX6" fmla="*/ 3809726 w 6334262"/>
              <a:gd name="connsiteY6" fmla="*/ 4691876 h 6858000"/>
              <a:gd name="connsiteX7" fmla="*/ 4129796 w 6334262"/>
              <a:gd name="connsiteY7" fmla="*/ 4822907 h 6858000"/>
              <a:gd name="connsiteX8" fmla="*/ 4129796 w 6334262"/>
              <a:gd name="connsiteY8" fmla="*/ 5466147 h 6858000"/>
              <a:gd name="connsiteX9" fmla="*/ 2881257 w 6334262"/>
              <a:gd name="connsiteY9" fmla="*/ 6715570 h 6858000"/>
              <a:gd name="connsiteX10" fmla="*/ 2241116 w 6334262"/>
              <a:gd name="connsiteY10" fmla="*/ 6715570 h 6858000"/>
              <a:gd name="connsiteX11" fmla="*/ 2241116 w 6334262"/>
              <a:gd name="connsiteY11" fmla="*/ 6072329 h 6858000"/>
              <a:gd name="connsiteX12" fmla="*/ 3489655 w 6334262"/>
              <a:gd name="connsiteY12" fmla="*/ 4822907 h 6858000"/>
              <a:gd name="connsiteX13" fmla="*/ 3809726 w 6334262"/>
              <a:gd name="connsiteY13" fmla="*/ 4691876 h 6858000"/>
              <a:gd name="connsiteX14" fmla="*/ 6334262 w 6334262"/>
              <a:gd name="connsiteY14" fmla="*/ 3330575 h 6858000"/>
              <a:gd name="connsiteX15" fmla="*/ 6334262 w 6334262"/>
              <a:gd name="connsiteY15" fmla="*/ 4614291 h 6858000"/>
              <a:gd name="connsiteX16" fmla="*/ 5008700 w 6334262"/>
              <a:gd name="connsiteY16" fmla="*/ 5937711 h 6858000"/>
              <a:gd name="connsiteX17" fmla="*/ 4368408 w 6334262"/>
              <a:gd name="connsiteY17" fmla="*/ 5937711 h 6858000"/>
              <a:gd name="connsiteX18" fmla="*/ 4368408 w 6334262"/>
              <a:gd name="connsiteY18" fmla="*/ 5297176 h 6858000"/>
              <a:gd name="connsiteX19" fmla="*/ 4147423 w 6334262"/>
              <a:gd name="connsiteY19" fmla="*/ 3005005 h 6858000"/>
              <a:gd name="connsiteX20" fmla="*/ 4468930 w 6334262"/>
              <a:gd name="connsiteY20" fmla="*/ 3137959 h 6858000"/>
              <a:gd name="connsiteX21" fmla="*/ 4468930 w 6334262"/>
              <a:gd name="connsiteY21" fmla="*/ 3778250 h 6858000"/>
              <a:gd name="connsiteX22" fmla="*/ 1388815 w 6334262"/>
              <a:gd name="connsiteY22" fmla="*/ 6858000 h 6858000"/>
              <a:gd name="connsiteX23" fmla="*/ 1386438 w 6334262"/>
              <a:gd name="connsiteY23" fmla="*/ 6858000 h 6858000"/>
              <a:gd name="connsiteX24" fmla="*/ 1369796 w 6334262"/>
              <a:gd name="connsiteY24" fmla="*/ 6858000 h 6858000"/>
              <a:gd name="connsiteX25" fmla="*/ 1351668 w 6334262"/>
              <a:gd name="connsiteY25" fmla="*/ 6858000 h 6858000"/>
              <a:gd name="connsiteX26" fmla="*/ 1324626 w 6334262"/>
              <a:gd name="connsiteY26" fmla="*/ 6858000 h 6858000"/>
              <a:gd name="connsiteX27" fmla="*/ 1286884 w 6334262"/>
              <a:gd name="connsiteY27" fmla="*/ 6858000 h 6858000"/>
              <a:gd name="connsiteX28" fmla="*/ 1236662 w 6334262"/>
              <a:gd name="connsiteY28" fmla="*/ 6858000 h 6858000"/>
              <a:gd name="connsiteX29" fmla="*/ 1172175 w 6334262"/>
              <a:gd name="connsiteY29" fmla="*/ 6858000 h 6858000"/>
              <a:gd name="connsiteX30" fmla="*/ 1091641 w 6334262"/>
              <a:gd name="connsiteY30" fmla="*/ 6858000 h 6858000"/>
              <a:gd name="connsiteX31" fmla="*/ 993276 w 6334262"/>
              <a:gd name="connsiteY31" fmla="*/ 6858000 h 6858000"/>
              <a:gd name="connsiteX32" fmla="*/ 875297 w 6334262"/>
              <a:gd name="connsiteY32" fmla="*/ 6858000 h 6858000"/>
              <a:gd name="connsiteX33" fmla="*/ 735922 w 6334262"/>
              <a:gd name="connsiteY33" fmla="*/ 6858000 h 6858000"/>
              <a:gd name="connsiteX34" fmla="*/ 573368 w 6334262"/>
              <a:gd name="connsiteY34" fmla="*/ 6858000 h 6858000"/>
              <a:gd name="connsiteX35" fmla="*/ 385850 w 6334262"/>
              <a:gd name="connsiteY35" fmla="*/ 6858000 h 6858000"/>
              <a:gd name="connsiteX36" fmla="*/ 171587 w 6334262"/>
              <a:gd name="connsiteY36" fmla="*/ 6858000 h 6858000"/>
              <a:gd name="connsiteX37" fmla="*/ 280079 w 6334262"/>
              <a:gd name="connsiteY37" fmla="*/ 6683375 h 6858000"/>
              <a:gd name="connsiteX38" fmla="*/ 3825916 w 6334262"/>
              <a:gd name="connsiteY38" fmla="*/ 3137959 h 6858000"/>
              <a:gd name="connsiteX39" fmla="*/ 4147423 w 6334262"/>
              <a:gd name="connsiteY39" fmla="*/ 3005005 h 6858000"/>
              <a:gd name="connsiteX40" fmla="*/ 5753797 w 6334262"/>
              <a:gd name="connsiteY40" fmla="*/ 2747852 h 6858000"/>
              <a:gd name="connsiteX41" fmla="*/ 6075418 w 6334262"/>
              <a:gd name="connsiteY41" fmla="*/ 2880867 h 6858000"/>
              <a:gd name="connsiteX42" fmla="*/ 6075418 w 6334262"/>
              <a:gd name="connsiteY42" fmla="*/ 3524107 h 6858000"/>
              <a:gd name="connsiteX43" fmla="*/ 4825995 w 6334262"/>
              <a:gd name="connsiteY43" fmla="*/ 4773530 h 6858000"/>
              <a:gd name="connsiteX44" fmla="*/ 4182754 w 6334262"/>
              <a:gd name="connsiteY44" fmla="*/ 4773530 h 6858000"/>
              <a:gd name="connsiteX45" fmla="*/ 4182754 w 6334262"/>
              <a:gd name="connsiteY45" fmla="*/ 4130289 h 6858000"/>
              <a:gd name="connsiteX46" fmla="*/ 5432177 w 6334262"/>
              <a:gd name="connsiteY46" fmla="*/ 2880867 h 6858000"/>
              <a:gd name="connsiteX47" fmla="*/ 5753797 w 6334262"/>
              <a:gd name="connsiteY47" fmla="*/ 2747852 h 6858000"/>
              <a:gd name="connsiteX48" fmla="*/ 4256015 w 6334262"/>
              <a:gd name="connsiteY48" fmla="*/ 1544501 h 6858000"/>
              <a:gd name="connsiteX49" fmla="*/ 4577448 w 6334262"/>
              <a:gd name="connsiteY49" fmla="*/ 1677439 h 6858000"/>
              <a:gd name="connsiteX50" fmla="*/ 4577448 w 6334262"/>
              <a:gd name="connsiteY50" fmla="*/ 2317660 h 6858000"/>
              <a:gd name="connsiteX51" fmla="*/ 775805 w 6334262"/>
              <a:gd name="connsiteY51" fmla="*/ 6121949 h 6858000"/>
              <a:gd name="connsiteX52" fmla="*/ 132939 w 6334262"/>
              <a:gd name="connsiteY52" fmla="*/ 6121949 h 6858000"/>
              <a:gd name="connsiteX53" fmla="*/ 132939 w 6334262"/>
              <a:gd name="connsiteY53" fmla="*/ 5479082 h 6858000"/>
              <a:gd name="connsiteX54" fmla="*/ 3934582 w 6334262"/>
              <a:gd name="connsiteY54" fmla="*/ 1677439 h 6858000"/>
              <a:gd name="connsiteX55" fmla="*/ 4256015 w 6334262"/>
              <a:gd name="connsiteY55" fmla="*/ 1544501 h 6858000"/>
              <a:gd name="connsiteX56" fmla="*/ 3595373 w 6334262"/>
              <a:gd name="connsiteY56" fmla="*/ 853935 h 6858000"/>
              <a:gd name="connsiteX57" fmla="*/ 3915470 w 6334262"/>
              <a:gd name="connsiteY57" fmla="*/ 986868 h 6858000"/>
              <a:gd name="connsiteX58" fmla="*/ 3915470 w 6334262"/>
              <a:gd name="connsiteY58" fmla="*/ 1629706 h 6858000"/>
              <a:gd name="connsiteX59" fmla="*/ 1479032 w 6334262"/>
              <a:gd name="connsiteY59" fmla="*/ 4066144 h 6858000"/>
              <a:gd name="connsiteX60" fmla="*/ 836194 w 6334262"/>
              <a:gd name="connsiteY60" fmla="*/ 4066144 h 6858000"/>
              <a:gd name="connsiteX61" fmla="*/ 836194 w 6334262"/>
              <a:gd name="connsiteY61" fmla="*/ 3425951 h 6858000"/>
              <a:gd name="connsiteX62" fmla="*/ 3275276 w 6334262"/>
              <a:gd name="connsiteY62" fmla="*/ 986868 h 6858000"/>
              <a:gd name="connsiteX63" fmla="*/ 3595373 w 6334262"/>
              <a:gd name="connsiteY63" fmla="*/ 853935 h 6858000"/>
              <a:gd name="connsiteX64" fmla="*/ 6334262 w 6334262"/>
              <a:gd name="connsiteY64" fmla="*/ 812799 h 6858000"/>
              <a:gd name="connsiteX65" fmla="*/ 6334262 w 6334262"/>
              <a:gd name="connsiteY65" fmla="*/ 1913228 h 6858000"/>
              <a:gd name="connsiteX66" fmla="*/ 5170406 w 6334262"/>
              <a:gd name="connsiteY66" fmla="*/ 3077142 h 6858000"/>
              <a:gd name="connsiteX67" fmla="*/ 4527640 w 6334262"/>
              <a:gd name="connsiteY67" fmla="*/ 3077142 h 6858000"/>
              <a:gd name="connsiteX68" fmla="*/ 4527640 w 6334262"/>
              <a:gd name="connsiteY68" fmla="*/ 2434344 h 6858000"/>
              <a:gd name="connsiteX69" fmla="*/ 6016847 w 6334262"/>
              <a:gd name="connsiteY69" fmla="*/ 945062 h 6858000"/>
              <a:gd name="connsiteX70" fmla="*/ 6334262 w 6334262"/>
              <a:gd name="connsiteY70" fmla="*/ 812799 h 6858000"/>
              <a:gd name="connsiteX71" fmla="*/ 4280302 w 6334262"/>
              <a:gd name="connsiteY71" fmla="*/ 175418 h 6858000"/>
              <a:gd name="connsiteX72" fmla="*/ 4596479 w 6334262"/>
              <a:gd name="connsiteY72" fmla="*/ 306387 h 6858000"/>
              <a:gd name="connsiteX73" fmla="*/ 4596479 w 6334262"/>
              <a:gd name="connsiteY73" fmla="*/ 941387 h 6858000"/>
              <a:gd name="connsiteX74" fmla="*/ 3964125 w 6334262"/>
              <a:gd name="connsiteY74" fmla="*/ 941387 h 6858000"/>
              <a:gd name="connsiteX75" fmla="*/ 3964125 w 6334262"/>
              <a:gd name="connsiteY75" fmla="*/ 306387 h 6858000"/>
              <a:gd name="connsiteX76" fmla="*/ 4280302 w 6334262"/>
              <a:gd name="connsiteY76" fmla="*/ 175418 h 6858000"/>
              <a:gd name="connsiteX77" fmla="*/ 2910696 w 6334262"/>
              <a:gd name="connsiteY77" fmla="*/ 0 h 6858000"/>
              <a:gd name="connsiteX78" fmla="*/ 2913203 w 6334262"/>
              <a:gd name="connsiteY78" fmla="*/ 0 h 6858000"/>
              <a:gd name="connsiteX79" fmla="*/ 2919157 w 6334262"/>
              <a:gd name="connsiteY79" fmla="*/ 0 h 6858000"/>
              <a:gd name="connsiteX80" fmla="*/ 2930753 w 6334262"/>
              <a:gd name="connsiteY80" fmla="*/ 0 h 6858000"/>
              <a:gd name="connsiteX81" fmla="*/ 2949869 w 6334262"/>
              <a:gd name="connsiteY81" fmla="*/ 0 h 6858000"/>
              <a:gd name="connsiteX82" fmla="*/ 2978387 w 6334262"/>
              <a:gd name="connsiteY82" fmla="*/ 0 h 6858000"/>
              <a:gd name="connsiteX83" fmla="*/ 3018186 w 6334262"/>
              <a:gd name="connsiteY83" fmla="*/ 0 h 6858000"/>
              <a:gd name="connsiteX84" fmla="*/ 3071148 w 6334262"/>
              <a:gd name="connsiteY84" fmla="*/ 0 h 6858000"/>
              <a:gd name="connsiteX85" fmla="*/ 3139152 w 6334262"/>
              <a:gd name="connsiteY85" fmla="*/ 0 h 6858000"/>
              <a:gd name="connsiteX86" fmla="*/ 3224079 w 6334262"/>
              <a:gd name="connsiteY86" fmla="*/ 0 h 6858000"/>
              <a:gd name="connsiteX87" fmla="*/ 3327809 w 6334262"/>
              <a:gd name="connsiteY87" fmla="*/ 0 h 6858000"/>
              <a:gd name="connsiteX88" fmla="*/ 3452222 w 6334262"/>
              <a:gd name="connsiteY88" fmla="*/ 0 h 6858000"/>
              <a:gd name="connsiteX89" fmla="*/ 3599199 w 6334262"/>
              <a:gd name="connsiteY89" fmla="*/ 0 h 6858000"/>
              <a:gd name="connsiteX90" fmla="*/ 3770619 w 6334262"/>
              <a:gd name="connsiteY90" fmla="*/ 0 h 6858000"/>
              <a:gd name="connsiteX91" fmla="*/ 3968364 w 6334262"/>
              <a:gd name="connsiteY91" fmla="*/ 0 h 6858000"/>
              <a:gd name="connsiteX92" fmla="*/ 4077695 w 6334262"/>
              <a:gd name="connsiteY92" fmla="*/ 0 h 6858000"/>
              <a:gd name="connsiteX93" fmla="*/ 4194313 w 6334262"/>
              <a:gd name="connsiteY93" fmla="*/ 0 h 6858000"/>
              <a:gd name="connsiteX94" fmla="*/ 1507981 w 6334262"/>
              <a:gd name="connsiteY94" fmla="*/ 2688167 h 6858000"/>
              <a:gd name="connsiteX95" fmla="*/ 864850 w 6334262"/>
              <a:gd name="connsiteY95" fmla="*/ 2688167 h 6858000"/>
              <a:gd name="connsiteX96" fmla="*/ 864850 w 6334262"/>
              <a:gd name="connsiteY96" fmla="*/ 2045230 h 6858000"/>
              <a:gd name="connsiteX97" fmla="*/ 2910696 w 6334262"/>
              <a:gd name="connsiteY9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6334262" h="6858000">
                <a:moveTo>
                  <a:pt x="4013337" y="5842794"/>
                </a:moveTo>
                <a:cubicBezTo>
                  <a:pt x="4128431" y="5842793"/>
                  <a:pt x="4243525" y="5886450"/>
                  <a:pt x="4330837" y="5973762"/>
                </a:cubicBezTo>
                <a:cubicBezTo>
                  <a:pt x="4505462" y="6151033"/>
                  <a:pt x="4505462" y="6434137"/>
                  <a:pt x="4330837" y="6608762"/>
                </a:cubicBezTo>
                <a:cubicBezTo>
                  <a:pt x="4156212" y="6783387"/>
                  <a:pt x="3870462" y="6783387"/>
                  <a:pt x="3695837" y="6608762"/>
                </a:cubicBezTo>
                <a:cubicBezTo>
                  <a:pt x="3521212" y="6434137"/>
                  <a:pt x="3521212" y="6151033"/>
                  <a:pt x="3695837" y="5973762"/>
                </a:cubicBezTo>
                <a:cubicBezTo>
                  <a:pt x="3783150" y="5886450"/>
                  <a:pt x="3898243" y="5842793"/>
                  <a:pt x="4013337" y="5842794"/>
                </a:cubicBezTo>
                <a:close/>
                <a:moveTo>
                  <a:pt x="3809726" y="4691876"/>
                </a:moveTo>
                <a:cubicBezTo>
                  <a:pt x="3926115" y="4691876"/>
                  <a:pt x="4042504" y="4735553"/>
                  <a:pt x="4129796" y="4822907"/>
                </a:cubicBezTo>
                <a:cubicBezTo>
                  <a:pt x="4307025" y="5000261"/>
                  <a:pt x="4307025" y="5288793"/>
                  <a:pt x="4129796" y="5466147"/>
                </a:cubicBezTo>
                <a:cubicBezTo>
                  <a:pt x="4129796" y="5466147"/>
                  <a:pt x="4129796" y="5466147"/>
                  <a:pt x="2881257" y="6715570"/>
                </a:cubicBezTo>
                <a:cubicBezTo>
                  <a:pt x="2706673" y="6892924"/>
                  <a:pt x="2415700" y="6892924"/>
                  <a:pt x="2241116" y="6715570"/>
                </a:cubicBezTo>
                <a:cubicBezTo>
                  <a:pt x="2063887" y="6538215"/>
                  <a:pt x="2063887" y="6249683"/>
                  <a:pt x="2241116" y="6072329"/>
                </a:cubicBezTo>
                <a:cubicBezTo>
                  <a:pt x="2241116" y="6072329"/>
                  <a:pt x="2241116" y="6072329"/>
                  <a:pt x="3489655" y="4822907"/>
                </a:cubicBezTo>
                <a:cubicBezTo>
                  <a:pt x="3576947" y="4735553"/>
                  <a:pt x="3693336" y="4691876"/>
                  <a:pt x="3809726" y="4691876"/>
                </a:cubicBezTo>
                <a:close/>
                <a:moveTo>
                  <a:pt x="6334262" y="3330575"/>
                </a:moveTo>
                <a:cubicBezTo>
                  <a:pt x="6334262" y="3330575"/>
                  <a:pt x="6334262" y="3330575"/>
                  <a:pt x="6334262" y="4614291"/>
                </a:cubicBezTo>
                <a:cubicBezTo>
                  <a:pt x="6334262" y="4614291"/>
                  <a:pt x="6334262" y="4614291"/>
                  <a:pt x="5008700" y="5937711"/>
                </a:cubicBezTo>
                <a:cubicBezTo>
                  <a:pt x="4834074" y="6115049"/>
                  <a:pt x="4543033" y="6115049"/>
                  <a:pt x="4368408" y="5937711"/>
                </a:cubicBezTo>
                <a:cubicBezTo>
                  <a:pt x="4191137" y="5763019"/>
                  <a:pt x="4191137" y="5474514"/>
                  <a:pt x="4368408" y="5297176"/>
                </a:cubicBezTo>
                <a:close/>
                <a:moveTo>
                  <a:pt x="4147423" y="3005005"/>
                </a:moveTo>
                <a:cubicBezTo>
                  <a:pt x="4263853" y="3005005"/>
                  <a:pt x="4380284" y="3049323"/>
                  <a:pt x="4468930" y="3137959"/>
                </a:cubicBezTo>
                <a:cubicBezTo>
                  <a:pt x="4643575" y="3312583"/>
                  <a:pt x="4643575" y="3603625"/>
                  <a:pt x="4468930" y="3778250"/>
                </a:cubicBezTo>
                <a:cubicBezTo>
                  <a:pt x="4468930" y="3778250"/>
                  <a:pt x="4468930" y="3778250"/>
                  <a:pt x="1388815" y="6858000"/>
                </a:cubicBezTo>
                <a:lnTo>
                  <a:pt x="1386438" y="6858000"/>
                </a:lnTo>
                <a:lnTo>
                  <a:pt x="1369796" y="6858000"/>
                </a:lnTo>
                <a:lnTo>
                  <a:pt x="1351668" y="6858000"/>
                </a:lnTo>
                <a:lnTo>
                  <a:pt x="1324626" y="6858000"/>
                </a:lnTo>
                <a:lnTo>
                  <a:pt x="1286884" y="6858000"/>
                </a:lnTo>
                <a:lnTo>
                  <a:pt x="1236662" y="6858000"/>
                </a:lnTo>
                <a:lnTo>
                  <a:pt x="1172175" y="6858000"/>
                </a:lnTo>
                <a:lnTo>
                  <a:pt x="1091641" y="6858000"/>
                </a:lnTo>
                <a:lnTo>
                  <a:pt x="993276" y="6858000"/>
                </a:lnTo>
                <a:lnTo>
                  <a:pt x="875297" y="6858000"/>
                </a:lnTo>
                <a:lnTo>
                  <a:pt x="735922" y="6858000"/>
                </a:lnTo>
                <a:lnTo>
                  <a:pt x="573368" y="6858000"/>
                </a:lnTo>
                <a:lnTo>
                  <a:pt x="385850" y="6858000"/>
                </a:lnTo>
                <a:lnTo>
                  <a:pt x="171587" y="6858000"/>
                </a:lnTo>
                <a:cubicBezTo>
                  <a:pt x="192756" y="6794500"/>
                  <a:pt x="229802" y="6733646"/>
                  <a:pt x="280079" y="6683375"/>
                </a:cubicBezTo>
                <a:cubicBezTo>
                  <a:pt x="280079" y="6683375"/>
                  <a:pt x="280079" y="6683375"/>
                  <a:pt x="3825916" y="3137959"/>
                </a:cubicBezTo>
                <a:cubicBezTo>
                  <a:pt x="3914562" y="3049323"/>
                  <a:pt x="4030992" y="3005005"/>
                  <a:pt x="4147423" y="3005005"/>
                </a:cubicBezTo>
                <a:close/>
                <a:moveTo>
                  <a:pt x="5753797" y="2747852"/>
                </a:moveTo>
                <a:cubicBezTo>
                  <a:pt x="5870269" y="2747852"/>
                  <a:pt x="5986740" y="2792190"/>
                  <a:pt x="6075418" y="2880867"/>
                </a:cubicBezTo>
                <a:cubicBezTo>
                  <a:pt x="6250125" y="3058222"/>
                  <a:pt x="6250125" y="3346754"/>
                  <a:pt x="6075418" y="3524107"/>
                </a:cubicBezTo>
                <a:cubicBezTo>
                  <a:pt x="6075418" y="3524107"/>
                  <a:pt x="6075418" y="3524107"/>
                  <a:pt x="4825995" y="4773530"/>
                </a:cubicBezTo>
                <a:cubicBezTo>
                  <a:pt x="4648641" y="4948237"/>
                  <a:pt x="4360109" y="4948237"/>
                  <a:pt x="4182754" y="4773530"/>
                </a:cubicBezTo>
                <a:cubicBezTo>
                  <a:pt x="4005400" y="4596175"/>
                  <a:pt x="4005400" y="4307643"/>
                  <a:pt x="4182754" y="4130289"/>
                </a:cubicBezTo>
                <a:cubicBezTo>
                  <a:pt x="4182754" y="4130289"/>
                  <a:pt x="4182754" y="4130289"/>
                  <a:pt x="5432177" y="2880867"/>
                </a:cubicBezTo>
                <a:cubicBezTo>
                  <a:pt x="5520854" y="2792190"/>
                  <a:pt x="5637325" y="2747852"/>
                  <a:pt x="5753797" y="2747852"/>
                </a:cubicBezTo>
                <a:close/>
                <a:moveTo>
                  <a:pt x="4256015" y="1544501"/>
                </a:moveTo>
                <a:cubicBezTo>
                  <a:pt x="4372419" y="1544501"/>
                  <a:pt x="4488823" y="1588814"/>
                  <a:pt x="4577448" y="1677439"/>
                </a:cubicBezTo>
                <a:cubicBezTo>
                  <a:pt x="4754700" y="1854691"/>
                  <a:pt x="4754700" y="2143055"/>
                  <a:pt x="4577448" y="2317660"/>
                </a:cubicBezTo>
                <a:cubicBezTo>
                  <a:pt x="4577448" y="2317660"/>
                  <a:pt x="4577448" y="2317660"/>
                  <a:pt x="775805" y="6121949"/>
                </a:cubicBezTo>
                <a:cubicBezTo>
                  <a:pt x="598554" y="6299200"/>
                  <a:pt x="310190" y="6299200"/>
                  <a:pt x="132939" y="6121949"/>
                </a:cubicBezTo>
                <a:cubicBezTo>
                  <a:pt x="-44313" y="5944698"/>
                  <a:pt x="-44313" y="5656333"/>
                  <a:pt x="132939" y="5479082"/>
                </a:cubicBezTo>
                <a:cubicBezTo>
                  <a:pt x="132939" y="5479082"/>
                  <a:pt x="132939" y="5479082"/>
                  <a:pt x="3934582" y="1677439"/>
                </a:cubicBezTo>
                <a:cubicBezTo>
                  <a:pt x="4023208" y="1588814"/>
                  <a:pt x="4139612" y="1544501"/>
                  <a:pt x="4256015" y="1544501"/>
                </a:cubicBezTo>
                <a:close/>
                <a:moveTo>
                  <a:pt x="3595373" y="853935"/>
                </a:moveTo>
                <a:cubicBezTo>
                  <a:pt x="3711772" y="853935"/>
                  <a:pt x="3828171" y="898246"/>
                  <a:pt x="3915470" y="986868"/>
                </a:cubicBezTo>
                <a:cubicBezTo>
                  <a:pt x="4092713" y="1164111"/>
                  <a:pt x="4092713" y="1452463"/>
                  <a:pt x="3915470" y="1629706"/>
                </a:cubicBezTo>
                <a:cubicBezTo>
                  <a:pt x="3915470" y="1629706"/>
                  <a:pt x="3915470" y="1629706"/>
                  <a:pt x="1479032" y="4066144"/>
                </a:cubicBezTo>
                <a:cubicBezTo>
                  <a:pt x="1301789" y="4243387"/>
                  <a:pt x="1013437" y="4243387"/>
                  <a:pt x="836194" y="4066144"/>
                </a:cubicBezTo>
                <a:cubicBezTo>
                  <a:pt x="658950" y="3891545"/>
                  <a:pt x="658950" y="3603194"/>
                  <a:pt x="836194" y="3425951"/>
                </a:cubicBezTo>
                <a:cubicBezTo>
                  <a:pt x="836194" y="3425951"/>
                  <a:pt x="836194" y="3425951"/>
                  <a:pt x="3275276" y="986868"/>
                </a:cubicBezTo>
                <a:cubicBezTo>
                  <a:pt x="3362575" y="898246"/>
                  <a:pt x="3478974" y="853935"/>
                  <a:pt x="3595373" y="853935"/>
                </a:cubicBezTo>
                <a:close/>
                <a:moveTo>
                  <a:pt x="6334262" y="812799"/>
                </a:moveTo>
                <a:cubicBezTo>
                  <a:pt x="6334262" y="812799"/>
                  <a:pt x="6334262" y="812799"/>
                  <a:pt x="6334262" y="1913228"/>
                </a:cubicBezTo>
                <a:cubicBezTo>
                  <a:pt x="6334262" y="1913228"/>
                  <a:pt x="6334262" y="1913228"/>
                  <a:pt x="5170406" y="3077142"/>
                </a:cubicBezTo>
                <a:cubicBezTo>
                  <a:pt x="4993183" y="3254375"/>
                  <a:pt x="4704864" y="3254375"/>
                  <a:pt x="4527640" y="3077142"/>
                </a:cubicBezTo>
                <a:cubicBezTo>
                  <a:pt x="4353062" y="2899910"/>
                  <a:pt x="4353062" y="2611577"/>
                  <a:pt x="4527640" y="2434344"/>
                </a:cubicBezTo>
                <a:lnTo>
                  <a:pt x="6016847" y="945062"/>
                </a:lnTo>
                <a:cubicBezTo>
                  <a:pt x="6104136" y="857769"/>
                  <a:pt x="6220522" y="815445"/>
                  <a:pt x="6334262" y="812799"/>
                </a:cubicBezTo>
                <a:close/>
                <a:moveTo>
                  <a:pt x="4280302" y="175418"/>
                </a:moveTo>
                <a:cubicBezTo>
                  <a:pt x="4394734" y="175418"/>
                  <a:pt x="4509167" y="219075"/>
                  <a:pt x="4596479" y="306387"/>
                </a:cubicBezTo>
                <a:cubicBezTo>
                  <a:pt x="4773750" y="481012"/>
                  <a:pt x="4773750" y="766762"/>
                  <a:pt x="4596479" y="941387"/>
                </a:cubicBezTo>
                <a:cubicBezTo>
                  <a:pt x="4421854" y="1116012"/>
                  <a:pt x="4138750" y="1116012"/>
                  <a:pt x="3964125" y="941387"/>
                </a:cubicBezTo>
                <a:cubicBezTo>
                  <a:pt x="3789500" y="766762"/>
                  <a:pt x="3789500" y="481012"/>
                  <a:pt x="3964125" y="306387"/>
                </a:cubicBezTo>
                <a:cubicBezTo>
                  <a:pt x="4051438" y="219075"/>
                  <a:pt x="4165870" y="175418"/>
                  <a:pt x="4280302" y="175418"/>
                </a:cubicBezTo>
                <a:close/>
                <a:moveTo>
                  <a:pt x="2910696" y="0"/>
                </a:moveTo>
                <a:lnTo>
                  <a:pt x="2913203" y="0"/>
                </a:lnTo>
                <a:lnTo>
                  <a:pt x="2919157" y="0"/>
                </a:lnTo>
                <a:lnTo>
                  <a:pt x="2930753" y="0"/>
                </a:lnTo>
                <a:lnTo>
                  <a:pt x="2949869" y="0"/>
                </a:lnTo>
                <a:lnTo>
                  <a:pt x="2978387" y="0"/>
                </a:lnTo>
                <a:lnTo>
                  <a:pt x="3018186" y="0"/>
                </a:lnTo>
                <a:lnTo>
                  <a:pt x="3071148" y="0"/>
                </a:lnTo>
                <a:lnTo>
                  <a:pt x="3139152" y="0"/>
                </a:lnTo>
                <a:lnTo>
                  <a:pt x="3224079" y="0"/>
                </a:lnTo>
                <a:lnTo>
                  <a:pt x="3327809" y="0"/>
                </a:lnTo>
                <a:lnTo>
                  <a:pt x="3452222" y="0"/>
                </a:lnTo>
                <a:lnTo>
                  <a:pt x="3599199" y="0"/>
                </a:lnTo>
                <a:lnTo>
                  <a:pt x="3770619" y="0"/>
                </a:lnTo>
                <a:lnTo>
                  <a:pt x="3968364" y="0"/>
                </a:lnTo>
                <a:lnTo>
                  <a:pt x="4077695" y="0"/>
                </a:lnTo>
                <a:lnTo>
                  <a:pt x="4194313" y="0"/>
                </a:lnTo>
                <a:cubicBezTo>
                  <a:pt x="4194313" y="0"/>
                  <a:pt x="4194313" y="0"/>
                  <a:pt x="1507981" y="2688167"/>
                </a:cubicBezTo>
                <a:cubicBezTo>
                  <a:pt x="1330657" y="2865438"/>
                  <a:pt x="1042174" y="2865438"/>
                  <a:pt x="864850" y="2688167"/>
                </a:cubicBezTo>
                <a:cubicBezTo>
                  <a:pt x="687525" y="2510896"/>
                  <a:pt x="687525" y="2222501"/>
                  <a:pt x="864850" y="2045230"/>
                </a:cubicBezTo>
                <a:cubicBezTo>
                  <a:pt x="864850" y="2045230"/>
                  <a:pt x="864850" y="2045230"/>
                  <a:pt x="2910696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832100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Img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FD4295F-BFEF-40BB-96E1-F34FC912306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126163" cy="6858000"/>
          </a:xfrm>
          <a:custGeom>
            <a:avLst/>
            <a:gdLst>
              <a:gd name="connsiteX0" fmla="*/ 4652238 w 6126163"/>
              <a:gd name="connsiteY0" fmla="*/ 1812535 h 6858000"/>
              <a:gd name="connsiteX1" fmla="*/ 5095371 w 6126163"/>
              <a:gd name="connsiteY1" fmla="*/ 1997101 h 6858000"/>
              <a:gd name="connsiteX2" fmla="*/ 5095371 w 6126163"/>
              <a:gd name="connsiteY2" fmla="*/ 2883547 h 6858000"/>
              <a:gd name="connsiteX3" fmla="*/ 1482731 w 6126163"/>
              <a:gd name="connsiteY3" fmla="*/ 6496919 h 6858000"/>
              <a:gd name="connsiteX4" fmla="*/ 1121723 w 6126163"/>
              <a:gd name="connsiteY4" fmla="*/ 6858000 h 6858000"/>
              <a:gd name="connsiteX5" fmla="*/ 0 w 6126163"/>
              <a:gd name="connsiteY5" fmla="*/ 6858000 h 6858000"/>
              <a:gd name="connsiteX6" fmla="*/ 0 w 6126163"/>
              <a:gd name="connsiteY6" fmla="*/ 6856730 h 6858000"/>
              <a:gd name="connsiteX7" fmla="*/ 0 w 6126163"/>
              <a:gd name="connsiteY7" fmla="*/ 6847830 h 6858000"/>
              <a:gd name="connsiteX8" fmla="*/ 0 w 6126163"/>
              <a:gd name="connsiteY8" fmla="*/ 6823674 h 6858000"/>
              <a:gd name="connsiteX9" fmla="*/ 0 w 6126163"/>
              <a:gd name="connsiteY9" fmla="*/ 6776633 h 6858000"/>
              <a:gd name="connsiteX10" fmla="*/ 0 w 6126163"/>
              <a:gd name="connsiteY10" fmla="*/ 6742148 h 6858000"/>
              <a:gd name="connsiteX11" fmla="*/ 0 w 6126163"/>
              <a:gd name="connsiteY11" fmla="*/ 6699080 h 6858000"/>
              <a:gd name="connsiteX12" fmla="*/ 0 w 6126163"/>
              <a:gd name="connsiteY12" fmla="*/ 6646477 h 6858000"/>
              <a:gd name="connsiteX13" fmla="*/ 0 w 6126163"/>
              <a:gd name="connsiteY13" fmla="*/ 6583385 h 6858000"/>
              <a:gd name="connsiteX14" fmla="*/ 0 w 6126163"/>
              <a:gd name="connsiteY14" fmla="*/ 6508851 h 6858000"/>
              <a:gd name="connsiteX15" fmla="*/ 0 w 6126163"/>
              <a:gd name="connsiteY15" fmla="*/ 6421921 h 6858000"/>
              <a:gd name="connsiteX16" fmla="*/ 0 w 6126163"/>
              <a:gd name="connsiteY16" fmla="*/ 6321642 h 6858000"/>
              <a:gd name="connsiteX17" fmla="*/ 0 w 6126163"/>
              <a:gd name="connsiteY17" fmla="*/ 6207059 h 6858000"/>
              <a:gd name="connsiteX18" fmla="*/ 4209104 w 6126163"/>
              <a:gd name="connsiteY18" fmla="*/ 1997101 h 6858000"/>
              <a:gd name="connsiteX19" fmla="*/ 4652238 w 6126163"/>
              <a:gd name="connsiteY19" fmla="*/ 1812535 h 6858000"/>
              <a:gd name="connsiteX20" fmla="*/ 2968625 w 6126163"/>
              <a:gd name="connsiteY20" fmla="*/ 0 h 6858000"/>
              <a:gd name="connsiteX21" fmla="*/ 6126163 w 6126163"/>
              <a:gd name="connsiteY21" fmla="*/ 0 h 6858000"/>
              <a:gd name="connsiteX22" fmla="*/ 0 w 6126163"/>
              <a:gd name="connsiteY22" fmla="*/ 6127750 h 6858000"/>
              <a:gd name="connsiteX23" fmla="*/ 0 w 6126163"/>
              <a:gd name="connsiteY23" fmla="*/ 2968625 h 6858000"/>
              <a:gd name="connsiteX24" fmla="*/ 1129242 w 6126163"/>
              <a:gd name="connsiteY24" fmla="*/ 0 h 6858000"/>
              <a:gd name="connsiteX25" fmla="*/ 1132705 w 6126163"/>
              <a:gd name="connsiteY25" fmla="*/ 0 h 6858000"/>
              <a:gd name="connsiteX26" fmla="*/ 1140928 w 6126163"/>
              <a:gd name="connsiteY26" fmla="*/ 0 h 6858000"/>
              <a:gd name="connsiteX27" fmla="*/ 1156941 w 6126163"/>
              <a:gd name="connsiteY27" fmla="*/ 0 h 6858000"/>
              <a:gd name="connsiteX28" fmla="*/ 1183341 w 6126163"/>
              <a:gd name="connsiteY28" fmla="*/ 0 h 6858000"/>
              <a:gd name="connsiteX29" fmla="*/ 1222725 w 6126163"/>
              <a:gd name="connsiteY29" fmla="*/ 0 h 6858000"/>
              <a:gd name="connsiteX30" fmla="*/ 1277689 w 6126163"/>
              <a:gd name="connsiteY30" fmla="*/ 0 h 6858000"/>
              <a:gd name="connsiteX31" fmla="*/ 1350831 w 6126163"/>
              <a:gd name="connsiteY31" fmla="*/ 0 h 6858000"/>
              <a:gd name="connsiteX32" fmla="*/ 1444746 w 6126163"/>
              <a:gd name="connsiteY32" fmla="*/ 0 h 6858000"/>
              <a:gd name="connsiteX33" fmla="*/ 1562032 w 6126163"/>
              <a:gd name="connsiteY33" fmla="*/ 0 h 6858000"/>
              <a:gd name="connsiteX34" fmla="*/ 1705286 w 6126163"/>
              <a:gd name="connsiteY34" fmla="*/ 0 h 6858000"/>
              <a:gd name="connsiteX35" fmla="*/ 1787462 w 6126163"/>
              <a:gd name="connsiteY35" fmla="*/ 0 h 6858000"/>
              <a:gd name="connsiteX36" fmla="*/ 1877103 w 6126163"/>
              <a:gd name="connsiteY36" fmla="*/ 0 h 6858000"/>
              <a:gd name="connsiteX37" fmla="*/ 1974535 w 6126163"/>
              <a:gd name="connsiteY37" fmla="*/ 0 h 6858000"/>
              <a:gd name="connsiteX38" fmla="*/ 2080082 w 6126163"/>
              <a:gd name="connsiteY38" fmla="*/ 0 h 6858000"/>
              <a:gd name="connsiteX39" fmla="*/ 2194068 w 6126163"/>
              <a:gd name="connsiteY39" fmla="*/ 0 h 6858000"/>
              <a:gd name="connsiteX40" fmla="*/ 2316818 w 6126163"/>
              <a:gd name="connsiteY40" fmla="*/ 0 h 6858000"/>
              <a:gd name="connsiteX41" fmla="*/ 2448657 w 6126163"/>
              <a:gd name="connsiteY41" fmla="*/ 0 h 6858000"/>
              <a:gd name="connsiteX42" fmla="*/ 2589909 w 6126163"/>
              <a:gd name="connsiteY42" fmla="*/ 0 h 6858000"/>
              <a:gd name="connsiteX43" fmla="*/ 2740898 w 6126163"/>
              <a:gd name="connsiteY43" fmla="*/ 0 h 6858000"/>
              <a:gd name="connsiteX44" fmla="*/ 2901950 w 6126163"/>
              <a:gd name="connsiteY44" fmla="*/ 0 h 6858000"/>
              <a:gd name="connsiteX45" fmla="*/ 1176867 w 6126163"/>
              <a:gd name="connsiteY45" fmla="*/ 1728193 h 6858000"/>
              <a:gd name="connsiteX46" fmla="*/ 287867 w 6126163"/>
              <a:gd name="connsiteY46" fmla="*/ 1728193 h 6858000"/>
              <a:gd name="connsiteX47" fmla="*/ 287867 w 6126163"/>
              <a:gd name="connsiteY47" fmla="*/ 841601 h 6858000"/>
              <a:gd name="connsiteX48" fmla="*/ 1129242 w 6126163"/>
              <a:gd name="connsiteY4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126163" h="6858000">
                <a:moveTo>
                  <a:pt x="4652238" y="1812535"/>
                </a:moveTo>
                <a:cubicBezTo>
                  <a:pt x="4812956" y="1812535"/>
                  <a:pt x="4973675" y="1874057"/>
                  <a:pt x="5095371" y="1997101"/>
                </a:cubicBezTo>
                <a:cubicBezTo>
                  <a:pt x="5338763" y="2240543"/>
                  <a:pt x="5338763" y="2637459"/>
                  <a:pt x="5095371" y="2883547"/>
                </a:cubicBezTo>
                <a:cubicBezTo>
                  <a:pt x="5095371" y="2883547"/>
                  <a:pt x="5095371" y="2883547"/>
                  <a:pt x="1482731" y="6496919"/>
                </a:cubicBezTo>
                <a:lnTo>
                  <a:pt x="1121723" y="6858000"/>
                </a:lnTo>
                <a:lnTo>
                  <a:pt x="0" y="6858000"/>
                </a:lnTo>
                <a:lnTo>
                  <a:pt x="0" y="6856730"/>
                </a:lnTo>
                <a:lnTo>
                  <a:pt x="0" y="6847830"/>
                </a:lnTo>
                <a:lnTo>
                  <a:pt x="0" y="6823674"/>
                </a:lnTo>
                <a:lnTo>
                  <a:pt x="0" y="6776633"/>
                </a:lnTo>
                <a:lnTo>
                  <a:pt x="0" y="6742148"/>
                </a:lnTo>
                <a:lnTo>
                  <a:pt x="0" y="6699080"/>
                </a:lnTo>
                <a:lnTo>
                  <a:pt x="0" y="6646477"/>
                </a:lnTo>
                <a:lnTo>
                  <a:pt x="0" y="6583385"/>
                </a:lnTo>
                <a:lnTo>
                  <a:pt x="0" y="6508851"/>
                </a:lnTo>
                <a:lnTo>
                  <a:pt x="0" y="6421921"/>
                </a:lnTo>
                <a:lnTo>
                  <a:pt x="0" y="6321642"/>
                </a:lnTo>
                <a:lnTo>
                  <a:pt x="0" y="6207059"/>
                </a:lnTo>
                <a:cubicBezTo>
                  <a:pt x="0" y="6207059"/>
                  <a:pt x="0" y="6207059"/>
                  <a:pt x="4209104" y="1997101"/>
                </a:cubicBezTo>
                <a:cubicBezTo>
                  <a:pt x="4330800" y="1874057"/>
                  <a:pt x="4491519" y="1812535"/>
                  <a:pt x="4652238" y="1812535"/>
                </a:cubicBezTo>
                <a:close/>
                <a:moveTo>
                  <a:pt x="2968625" y="0"/>
                </a:moveTo>
                <a:lnTo>
                  <a:pt x="6126163" y="0"/>
                </a:lnTo>
                <a:lnTo>
                  <a:pt x="0" y="6127750"/>
                </a:lnTo>
                <a:lnTo>
                  <a:pt x="0" y="2968625"/>
                </a:lnTo>
                <a:close/>
                <a:moveTo>
                  <a:pt x="1129242" y="0"/>
                </a:moveTo>
                <a:lnTo>
                  <a:pt x="1132705" y="0"/>
                </a:lnTo>
                <a:lnTo>
                  <a:pt x="1140928" y="0"/>
                </a:lnTo>
                <a:lnTo>
                  <a:pt x="1156941" y="0"/>
                </a:lnTo>
                <a:lnTo>
                  <a:pt x="1183341" y="0"/>
                </a:lnTo>
                <a:lnTo>
                  <a:pt x="1222725" y="0"/>
                </a:lnTo>
                <a:lnTo>
                  <a:pt x="1277689" y="0"/>
                </a:lnTo>
                <a:lnTo>
                  <a:pt x="1350831" y="0"/>
                </a:lnTo>
                <a:lnTo>
                  <a:pt x="1444746" y="0"/>
                </a:lnTo>
                <a:lnTo>
                  <a:pt x="1562032" y="0"/>
                </a:lnTo>
                <a:lnTo>
                  <a:pt x="1705286" y="0"/>
                </a:lnTo>
                <a:lnTo>
                  <a:pt x="1787462" y="0"/>
                </a:lnTo>
                <a:lnTo>
                  <a:pt x="1877103" y="0"/>
                </a:lnTo>
                <a:lnTo>
                  <a:pt x="1974535" y="0"/>
                </a:lnTo>
                <a:lnTo>
                  <a:pt x="2080082" y="0"/>
                </a:lnTo>
                <a:lnTo>
                  <a:pt x="2194068" y="0"/>
                </a:lnTo>
                <a:lnTo>
                  <a:pt x="2316818" y="0"/>
                </a:lnTo>
                <a:lnTo>
                  <a:pt x="2448657" y="0"/>
                </a:lnTo>
                <a:lnTo>
                  <a:pt x="2589909" y="0"/>
                </a:lnTo>
                <a:lnTo>
                  <a:pt x="2740898" y="0"/>
                </a:lnTo>
                <a:lnTo>
                  <a:pt x="2901950" y="0"/>
                </a:lnTo>
                <a:cubicBezTo>
                  <a:pt x="2901950" y="0"/>
                  <a:pt x="2901950" y="0"/>
                  <a:pt x="1176867" y="1728193"/>
                </a:cubicBezTo>
                <a:cubicBezTo>
                  <a:pt x="930804" y="1971675"/>
                  <a:pt x="533929" y="1971675"/>
                  <a:pt x="287867" y="1728193"/>
                </a:cubicBezTo>
                <a:cubicBezTo>
                  <a:pt x="44450" y="1484711"/>
                  <a:pt x="44450" y="1085083"/>
                  <a:pt x="287867" y="841601"/>
                </a:cubicBezTo>
                <a:cubicBezTo>
                  <a:pt x="287867" y="841601"/>
                  <a:pt x="287867" y="841601"/>
                  <a:pt x="1129242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77C4B3-1DF5-42C4-88D3-7A8FDF1437CE}"/>
              </a:ext>
            </a:extLst>
          </p:cNvPr>
          <p:cNvSpPr txBox="1"/>
          <p:nvPr userDrawn="1"/>
        </p:nvSpPr>
        <p:spPr bwMode="black">
          <a:xfrm>
            <a:off x="731520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1E827BD4-C372-4180-AA85-8A9DEF2FFB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F2E8CDF-5D20-4D7F-A039-FA664F07CF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98E6AE06-6C45-4DED-9551-699DA73FFB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910A531-85B9-4009-BD82-A503C2912A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20" name="Freeform 13">
            <a:extLst>
              <a:ext uri="{FF2B5EF4-FFF2-40B4-BE49-F238E27FC236}">
                <a16:creationId xmlns:a16="http://schemas.microsoft.com/office/drawing/2014/main" id="{FCFE8574-3DDA-44E9-B82B-2F9AA30C2615}"/>
              </a:ext>
            </a:extLst>
          </p:cNvPr>
          <p:cNvSpPr>
            <a:spLocks/>
          </p:cNvSpPr>
          <p:nvPr userDrawn="1"/>
        </p:nvSpPr>
        <p:spPr bwMode="auto">
          <a:xfrm>
            <a:off x="0" y="1666875"/>
            <a:ext cx="455613" cy="1235075"/>
          </a:xfrm>
          <a:custGeom>
            <a:avLst/>
            <a:gdLst>
              <a:gd name="T0" fmla="*/ 80 w 172"/>
              <a:gd name="T1" fmla="*/ 53 h 467"/>
              <a:gd name="T2" fmla="*/ 80 w 172"/>
              <a:gd name="T3" fmla="*/ 53 h 467"/>
              <a:gd name="T4" fmla="*/ 0 w 172"/>
              <a:gd name="T5" fmla="*/ 0 h 467"/>
              <a:gd name="T6" fmla="*/ 0 w 172"/>
              <a:gd name="T7" fmla="*/ 467 h 467"/>
              <a:gd name="T8" fmla="*/ 80 w 172"/>
              <a:gd name="T9" fmla="*/ 388 h 467"/>
              <a:gd name="T10" fmla="*/ 80 w 172"/>
              <a:gd name="T11" fmla="*/ 53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2" h="467">
                <a:moveTo>
                  <a:pt x="80" y="53"/>
                </a:moveTo>
                <a:cubicBezTo>
                  <a:pt x="80" y="53"/>
                  <a:pt x="80" y="53"/>
                  <a:pt x="80" y="53"/>
                </a:cubicBezTo>
                <a:cubicBezTo>
                  <a:pt x="56" y="29"/>
                  <a:pt x="29" y="12"/>
                  <a:pt x="0" y="0"/>
                </a:cubicBezTo>
                <a:cubicBezTo>
                  <a:pt x="0" y="467"/>
                  <a:pt x="0" y="467"/>
                  <a:pt x="0" y="467"/>
                </a:cubicBezTo>
                <a:cubicBezTo>
                  <a:pt x="80" y="388"/>
                  <a:pt x="80" y="388"/>
                  <a:pt x="80" y="388"/>
                </a:cubicBezTo>
                <a:cubicBezTo>
                  <a:pt x="172" y="295"/>
                  <a:pt x="172" y="145"/>
                  <a:pt x="80" y="53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EBE5F009-828D-4CEF-96D5-43F75AD903F9}"/>
              </a:ext>
            </a:extLst>
          </p:cNvPr>
          <p:cNvSpPr>
            <a:spLocks/>
          </p:cNvSpPr>
          <p:nvPr userDrawn="1"/>
        </p:nvSpPr>
        <p:spPr bwMode="auto">
          <a:xfrm>
            <a:off x="4938713" y="0"/>
            <a:ext cx="3021013" cy="2154238"/>
          </a:xfrm>
          <a:custGeom>
            <a:avLst/>
            <a:gdLst>
              <a:gd name="T0" fmla="*/ 92 w 1142"/>
              <a:gd name="T1" fmla="*/ 722 h 814"/>
              <a:gd name="T2" fmla="*/ 92 w 1142"/>
              <a:gd name="T3" fmla="*/ 722 h 814"/>
              <a:gd name="T4" fmla="*/ 427 w 1142"/>
              <a:gd name="T5" fmla="*/ 722 h 814"/>
              <a:gd name="T6" fmla="*/ 1111 w 1142"/>
              <a:gd name="T7" fmla="*/ 38 h 814"/>
              <a:gd name="T8" fmla="*/ 1142 w 1142"/>
              <a:gd name="T9" fmla="*/ 0 h 814"/>
              <a:gd name="T10" fmla="*/ 479 w 1142"/>
              <a:gd name="T11" fmla="*/ 0 h 814"/>
              <a:gd name="T12" fmla="*/ 92 w 1142"/>
              <a:gd name="T13" fmla="*/ 387 h 814"/>
              <a:gd name="T14" fmla="*/ 92 w 1142"/>
              <a:gd name="T15" fmla="*/ 722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42" h="814">
                <a:moveTo>
                  <a:pt x="92" y="722"/>
                </a:moveTo>
                <a:cubicBezTo>
                  <a:pt x="92" y="722"/>
                  <a:pt x="92" y="722"/>
                  <a:pt x="92" y="722"/>
                </a:cubicBezTo>
                <a:cubicBezTo>
                  <a:pt x="184" y="814"/>
                  <a:pt x="335" y="814"/>
                  <a:pt x="427" y="722"/>
                </a:cubicBezTo>
                <a:cubicBezTo>
                  <a:pt x="1111" y="38"/>
                  <a:pt x="1111" y="38"/>
                  <a:pt x="1111" y="38"/>
                </a:cubicBezTo>
                <a:cubicBezTo>
                  <a:pt x="1123" y="26"/>
                  <a:pt x="1133" y="13"/>
                  <a:pt x="1142" y="0"/>
                </a:cubicBezTo>
                <a:cubicBezTo>
                  <a:pt x="479" y="0"/>
                  <a:pt x="479" y="0"/>
                  <a:pt x="479" y="0"/>
                </a:cubicBezTo>
                <a:cubicBezTo>
                  <a:pt x="92" y="387"/>
                  <a:pt x="92" y="387"/>
                  <a:pt x="92" y="387"/>
                </a:cubicBezTo>
                <a:cubicBezTo>
                  <a:pt x="0" y="479"/>
                  <a:pt x="0" y="630"/>
                  <a:pt x="92" y="722"/>
                </a:cubicBezTo>
                <a:close/>
              </a:path>
            </a:pathLst>
          </a:custGeom>
          <a:solidFill>
            <a:srgbClr val="F4F4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002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g05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CD4BCDB-D5A1-4262-8420-612F707BF2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8658" y="0"/>
            <a:ext cx="7420167" cy="6185064"/>
          </a:xfrm>
          <a:custGeom>
            <a:avLst/>
            <a:gdLst>
              <a:gd name="connsiteX0" fmla="*/ 880919 w 7420167"/>
              <a:gd name="connsiteY0" fmla="*/ 0 h 6185064"/>
              <a:gd name="connsiteX1" fmla="*/ 7420167 w 7420167"/>
              <a:gd name="connsiteY1" fmla="*/ 0 h 6185064"/>
              <a:gd name="connsiteX2" fmla="*/ 7420167 w 7420167"/>
              <a:gd name="connsiteY2" fmla="*/ 4066168 h 6185064"/>
              <a:gd name="connsiteX3" fmla="*/ 5539556 w 7420167"/>
              <a:gd name="connsiteY3" fmla="*/ 5947431 h 6185064"/>
              <a:gd name="connsiteX4" fmla="*/ 4384794 w 7420167"/>
              <a:gd name="connsiteY4" fmla="*/ 5947431 h 6185064"/>
              <a:gd name="connsiteX5" fmla="*/ 237552 w 7420167"/>
              <a:gd name="connsiteY5" fmla="*/ 1798751 h 6185064"/>
              <a:gd name="connsiteX6" fmla="*/ 237552 w 7420167"/>
              <a:gd name="connsiteY6" fmla="*/ 643590 h 6185064"/>
              <a:gd name="connsiteX7" fmla="*/ 880919 w 7420167"/>
              <a:gd name="connsiteY7" fmla="*/ 0 h 618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0167" h="6185064">
                <a:moveTo>
                  <a:pt x="880919" y="0"/>
                </a:moveTo>
                <a:lnTo>
                  <a:pt x="7420167" y="0"/>
                </a:lnTo>
                <a:cubicBezTo>
                  <a:pt x="7420167" y="0"/>
                  <a:pt x="7420167" y="0"/>
                  <a:pt x="7420167" y="4066168"/>
                </a:cubicBezTo>
                <a:cubicBezTo>
                  <a:pt x="7420167" y="4066168"/>
                  <a:pt x="7420167" y="4066168"/>
                  <a:pt x="5539556" y="5947431"/>
                </a:cubicBezTo>
                <a:cubicBezTo>
                  <a:pt x="5222821" y="6264275"/>
                  <a:pt x="4701529" y="6264275"/>
                  <a:pt x="4384794" y="5947431"/>
                </a:cubicBezTo>
                <a:cubicBezTo>
                  <a:pt x="4384794" y="5947431"/>
                  <a:pt x="4384794" y="5947431"/>
                  <a:pt x="237552" y="1798751"/>
                </a:cubicBezTo>
                <a:cubicBezTo>
                  <a:pt x="-79183" y="1478607"/>
                  <a:pt x="-79183" y="960434"/>
                  <a:pt x="237552" y="643590"/>
                </a:cubicBezTo>
                <a:cubicBezTo>
                  <a:pt x="237552" y="643590"/>
                  <a:pt x="237552" y="643590"/>
                  <a:pt x="880919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0C4B621-CB97-4EC0-87E2-2F48A23704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814947-048E-4F21-B2A9-2E67D9CC8BDE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6C43B74-D30C-4137-BFF2-FBFBF75C83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3183858-B3A0-46CC-A456-DA30C93DD2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2F80995-0F2C-4892-8CC6-4D4D83A802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</p:spTree>
    <p:extLst>
      <p:ext uri="{BB962C8B-B14F-4D97-AF65-F5344CB8AC3E}">
        <p14:creationId xmlns:p14="http://schemas.microsoft.com/office/powerpoint/2010/main" val="3373900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Img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47C2730-F629-4D6E-BE5B-C2E55D631223}"/>
              </a:ext>
            </a:extLst>
          </p:cNvPr>
          <p:cNvSpPr>
            <a:spLocks/>
          </p:cNvSpPr>
          <p:nvPr userDrawn="1"/>
        </p:nvSpPr>
        <p:spPr bwMode="auto">
          <a:xfrm>
            <a:off x="9337675" y="0"/>
            <a:ext cx="2857500" cy="2717800"/>
          </a:xfrm>
          <a:custGeom>
            <a:avLst/>
            <a:gdLst>
              <a:gd name="T0" fmla="*/ 445 w 1080"/>
              <a:gd name="T1" fmla="*/ 0 h 1027"/>
              <a:gd name="T2" fmla="*/ 160 w 1080"/>
              <a:gd name="T3" fmla="*/ 285 h 1027"/>
              <a:gd name="T4" fmla="*/ 160 w 1080"/>
              <a:gd name="T5" fmla="*/ 867 h 1027"/>
              <a:gd name="T6" fmla="*/ 742 w 1080"/>
              <a:gd name="T7" fmla="*/ 867 h 1027"/>
              <a:gd name="T8" fmla="*/ 1080 w 1080"/>
              <a:gd name="T9" fmla="*/ 529 h 1027"/>
              <a:gd name="T10" fmla="*/ 1080 w 1080"/>
              <a:gd name="T11" fmla="*/ 0 h 1027"/>
              <a:gd name="T12" fmla="*/ 445 w 1080"/>
              <a:gd name="T13" fmla="*/ 0 h 1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80" h="1027">
                <a:moveTo>
                  <a:pt x="445" y="0"/>
                </a:moveTo>
                <a:cubicBezTo>
                  <a:pt x="160" y="285"/>
                  <a:pt x="160" y="285"/>
                  <a:pt x="160" y="285"/>
                </a:cubicBezTo>
                <a:cubicBezTo>
                  <a:pt x="0" y="445"/>
                  <a:pt x="0" y="707"/>
                  <a:pt x="160" y="867"/>
                </a:cubicBezTo>
                <a:cubicBezTo>
                  <a:pt x="320" y="1027"/>
                  <a:pt x="582" y="1027"/>
                  <a:pt x="742" y="867"/>
                </a:cubicBezTo>
                <a:cubicBezTo>
                  <a:pt x="1080" y="529"/>
                  <a:pt x="1080" y="529"/>
                  <a:pt x="1080" y="529"/>
                </a:cubicBezTo>
                <a:cubicBezTo>
                  <a:pt x="1080" y="0"/>
                  <a:pt x="1080" y="0"/>
                  <a:pt x="1080" y="0"/>
                </a:cubicBezTo>
                <a:lnTo>
                  <a:pt x="445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4927313-E453-46DB-8A00-AE661AA4C1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081589" y="1257474"/>
            <a:ext cx="7110411" cy="5600527"/>
          </a:xfrm>
          <a:custGeom>
            <a:avLst/>
            <a:gdLst>
              <a:gd name="connsiteX0" fmla="*/ 6435987 w 7110411"/>
              <a:gd name="connsiteY0" fmla="*/ 200 h 5600527"/>
              <a:gd name="connsiteX1" fmla="*/ 6981741 w 7110411"/>
              <a:gd name="connsiteY1" fmla="*/ 85856 h 5600527"/>
              <a:gd name="connsiteX2" fmla="*/ 7110411 w 7110411"/>
              <a:gd name="connsiteY2" fmla="*/ 130489 h 5600527"/>
              <a:gd name="connsiteX3" fmla="*/ 7110411 w 7110411"/>
              <a:gd name="connsiteY3" fmla="*/ 3976517 h 5600527"/>
              <a:gd name="connsiteX4" fmla="*/ 7110409 w 7110411"/>
              <a:gd name="connsiteY4" fmla="*/ 3976518 h 5600527"/>
              <a:gd name="connsiteX5" fmla="*/ 5634450 w 7110411"/>
              <a:gd name="connsiteY5" fmla="*/ 5452697 h 5600527"/>
              <a:gd name="connsiteX6" fmla="*/ 5486642 w 7110411"/>
              <a:gd name="connsiteY6" fmla="*/ 5600527 h 5600527"/>
              <a:gd name="connsiteX7" fmla="*/ 0 w 7110411"/>
              <a:gd name="connsiteY7" fmla="*/ 5600527 h 5600527"/>
              <a:gd name="connsiteX8" fmla="*/ 1228 w 7110411"/>
              <a:gd name="connsiteY8" fmla="*/ 5599299 h 5600527"/>
              <a:gd name="connsiteX9" fmla="*/ 5034271 w 7110411"/>
              <a:gd name="connsiteY9" fmla="*/ 565507 h 5600527"/>
              <a:gd name="connsiteX10" fmla="*/ 6435987 w 7110411"/>
              <a:gd name="connsiteY10" fmla="*/ 200 h 5600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10411" h="5600527">
                <a:moveTo>
                  <a:pt x="6435987" y="200"/>
                </a:moveTo>
                <a:cubicBezTo>
                  <a:pt x="6620272" y="2827"/>
                  <a:pt x="6804215" y="31366"/>
                  <a:pt x="6981741" y="85856"/>
                </a:cubicBezTo>
                <a:lnTo>
                  <a:pt x="7110411" y="130489"/>
                </a:lnTo>
                <a:lnTo>
                  <a:pt x="7110411" y="3976517"/>
                </a:lnTo>
                <a:lnTo>
                  <a:pt x="7110409" y="3976518"/>
                </a:lnTo>
                <a:cubicBezTo>
                  <a:pt x="7088960" y="3997971"/>
                  <a:pt x="6922731" y="4164225"/>
                  <a:pt x="5634450" y="5452697"/>
                </a:cubicBezTo>
                <a:lnTo>
                  <a:pt x="5486642" y="5600527"/>
                </a:lnTo>
                <a:lnTo>
                  <a:pt x="0" y="5600527"/>
                </a:lnTo>
                <a:lnTo>
                  <a:pt x="1228" y="5599299"/>
                </a:lnTo>
                <a:cubicBezTo>
                  <a:pt x="19664" y="5580860"/>
                  <a:pt x="314641" y="5285839"/>
                  <a:pt x="5034271" y="565507"/>
                </a:cubicBezTo>
                <a:cubicBezTo>
                  <a:pt x="5419844" y="181696"/>
                  <a:pt x="5929205" y="-7027"/>
                  <a:pt x="6435987" y="20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None/>
              <a:defRPr sz="1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7AFCC2-DAD5-47A8-80A2-C1F764ACAB11}"/>
              </a:ext>
            </a:extLst>
          </p:cNvPr>
          <p:cNvSpPr txBox="1"/>
          <p:nvPr userDrawn="1"/>
        </p:nvSpPr>
        <p:spPr bwMode="black">
          <a:xfrm>
            <a:off x="731520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4175059"/>
            <a:ext cx="4495800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520" y="1918354"/>
            <a:ext cx="4495800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2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520" y="5518464"/>
            <a:ext cx="4495800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53B87BA2-34D6-4B9D-A0FF-47B82811DE0E}"/>
              </a:ext>
            </a:extLst>
          </p:cNvPr>
          <p:cNvSpPr>
            <a:spLocks/>
          </p:cNvSpPr>
          <p:nvPr userDrawn="1"/>
        </p:nvSpPr>
        <p:spPr bwMode="auto">
          <a:xfrm>
            <a:off x="3657600" y="1952625"/>
            <a:ext cx="6442075" cy="4905375"/>
          </a:xfrm>
          <a:custGeom>
            <a:avLst/>
            <a:gdLst>
              <a:gd name="T0" fmla="*/ 2275 w 2435"/>
              <a:gd name="T1" fmla="*/ 160 h 1854"/>
              <a:gd name="T2" fmla="*/ 2275 w 2435"/>
              <a:gd name="T3" fmla="*/ 160 h 1854"/>
              <a:gd name="T4" fmla="*/ 1694 w 2435"/>
              <a:gd name="T5" fmla="*/ 160 h 1854"/>
              <a:gd name="T6" fmla="*/ 11 w 2435"/>
              <a:gd name="T7" fmla="*/ 1843 h 1854"/>
              <a:gd name="T8" fmla="*/ 0 w 2435"/>
              <a:gd name="T9" fmla="*/ 1854 h 1854"/>
              <a:gd name="T10" fmla="*/ 1164 w 2435"/>
              <a:gd name="T11" fmla="*/ 1854 h 1854"/>
              <a:gd name="T12" fmla="*/ 2275 w 2435"/>
              <a:gd name="T13" fmla="*/ 742 h 1854"/>
              <a:gd name="T14" fmla="*/ 2275 w 2435"/>
              <a:gd name="T15" fmla="*/ 160 h 18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35" h="1854">
                <a:moveTo>
                  <a:pt x="2275" y="160"/>
                </a:moveTo>
                <a:cubicBezTo>
                  <a:pt x="2275" y="160"/>
                  <a:pt x="2275" y="160"/>
                  <a:pt x="2275" y="160"/>
                </a:cubicBezTo>
                <a:cubicBezTo>
                  <a:pt x="2115" y="0"/>
                  <a:pt x="1854" y="0"/>
                  <a:pt x="1694" y="160"/>
                </a:cubicBezTo>
                <a:cubicBezTo>
                  <a:pt x="11" y="1843"/>
                  <a:pt x="11" y="1843"/>
                  <a:pt x="11" y="1843"/>
                </a:cubicBezTo>
                <a:cubicBezTo>
                  <a:pt x="7" y="1847"/>
                  <a:pt x="4" y="1850"/>
                  <a:pt x="0" y="1854"/>
                </a:cubicBezTo>
                <a:cubicBezTo>
                  <a:pt x="1164" y="1854"/>
                  <a:pt x="1164" y="1854"/>
                  <a:pt x="1164" y="1854"/>
                </a:cubicBezTo>
                <a:cubicBezTo>
                  <a:pt x="2275" y="742"/>
                  <a:pt x="2275" y="742"/>
                  <a:pt x="2275" y="742"/>
                </a:cubicBezTo>
                <a:cubicBezTo>
                  <a:pt x="2435" y="582"/>
                  <a:pt x="2435" y="320"/>
                  <a:pt x="2275" y="16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47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2.2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5% Charcoal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/>
                <a:t>Indigo</a:t>
              </a:r>
              <a:endParaRPr lang="en-US" sz="60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  <p:sldLayoutId id="2147484246" r:id="rId18"/>
    <p:sldLayoutId id="2147484247" r:id="rId19"/>
    <p:sldLayoutId id="2147484248" r:id="rId20"/>
    <p:sldLayoutId id="2147484249" r:id="rId21"/>
    <p:sldLayoutId id="2147484250" r:id="rId22"/>
    <p:sldLayoutId id="2147484251" r:id="rId23"/>
    <p:sldLayoutId id="2147484252" r:id="rId24"/>
    <p:sldLayoutId id="2147484253" r:id="rId25"/>
    <p:sldLayoutId id="2147484254" r:id="rId26"/>
    <p:sldLayoutId id="2147484255" r:id="rId27"/>
    <p:sldLayoutId id="2147484256" r:id="rId28"/>
    <p:sldLayoutId id="2147484257" r:id="rId29"/>
    <p:sldLayoutId id="2147484261" r:id="rId30"/>
    <p:sldLayoutId id="2147484268" r:id="rId31"/>
    <p:sldLayoutId id="2147484269" r:id="rId32"/>
    <p:sldLayoutId id="2147484270" r:id="rId33"/>
    <p:sldLayoutId id="2147484271" r:id="rId34"/>
    <p:sldLayoutId id="2147484272" r:id="rId35"/>
    <p:sldLayoutId id="2147484258" r:id="rId36"/>
    <p:sldLayoutId id="2147484259" r:id="rId37"/>
    <p:sldLayoutId id="2147484260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9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secure.constellation.iqvia.com/OpenOfficePresentations?elqTrackId=0a42f0b1be9c42b3a14883c747e375a5" TargetMode="Externa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form/2d7601d89bf543c2b56545072349f957?elqTrackId=8d2cf6eea8e648ddb39140a68aec9e20&amp;elqaid=1251&amp;elqat=2" TargetMode="External"/><Relationship Id="rId2" Type="http://schemas.openxmlformats.org/officeDocument/2006/relationships/hyperlink" Target="mailto:marketing.automation@iqvia.com?subject=I%20have%20a%20question%20for%20the%20MA%20Open%20Office%20Hours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376F5B47-E5E5-444D-B64A-CD865ED93B4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7680" r="7680"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F75B33-7012-4681-90E6-AFA54C212D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Review of 2023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2911826-BCC1-439E-A40E-C01B9B6FC6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Marketing Opera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05552D1-EC58-405F-9E97-7E338409D5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Kristen Powell</a:t>
            </a:r>
          </a:p>
          <a:p>
            <a:r>
              <a:rPr lang="en-US"/>
              <a:t>13</a:t>
            </a:r>
            <a:r>
              <a:rPr lang="en-US" baseline="30000"/>
              <a:t>th</a:t>
            </a:r>
            <a:r>
              <a:rPr lang="en-US"/>
              <a:t> December 2023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7B36704-E3E7-4C5A-AC8C-8EB017234A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31</a:t>
            </a:r>
          </a:p>
          <a:p>
            <a:r>
              <a:rPr lang="en-US" dirty="0"/>
              <a:t>42</a:t>
            </a:r>
          </a:p>
          <a:p>
            <a:r>
              <a:rPr lang="en-US" dirty="0"/>
              <a:t>53</a:t>
            </a:r>
          </a:p>
          <a:p>
            <a:r>
              <a:rPr lang="en-US" dirty="0"/>
              <a:t>6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8A0256-1859-4D3D-979E-A4CA2A04D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many IQVIA personas are ther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34F26A-2B9F-48A0-B1F4-40B024E5F5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06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CB241E5-D554-4CDF-BEA4-01B02FD196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ender</a:t>
            </a:r>
          </a:p>
          <a:p>
            <a:r>
              <a:rPr lang="en-US" dirty="0"/>
              <a:t>Favorite Color</a:t>
            </a:r>
          </a:p>
          <a:p>
            <a:r>
              <a:rPr lang="en-US" dirty="0"/>
              <a:t>Age</a:t>
            </a:r>
          </a:p>
          <a:p>
            <a:r>
              <a:rPr lang="en-US" b="1" dirty="0">
                <a:solidFill>
                  <a:schemeClr val="accent3"/>
                </a:solidFill>
              </a:rPr>
              <a:t>Job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C74E31-4A31-4166-9127-CCD9829BF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criteria can you segment on and targe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CB1CCB-0DCC-4B02-9D78-BBB4F79EE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18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art and science of segmentation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</p:cNvCxnSpPr>
          <p:nvPr/>
        </p:nvCxnSpPr>
        <p:spPr>
          <a:xfrm flipV="1">
            <a:off x="3800840" y="3368710"/>
            <a:ext cx="620101" cy="2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Segment typ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Standard segment, Bullseye Segment, Persona Segment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Standard and Master Exclusion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xclusions applied to all email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10228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Using customer data to create more targeted and personalized messaging</a:t>
            </a: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Entry Point, Geographics, Behavioral, IQVIA Segmentation, Mapped Functional Area, Mapped Job Level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Importance of segmentation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Organize your way to better email performance, Improved relevance, Guide customers through the funnel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243907-7335-1526-C399-73EA92EF9B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118" y="3068276"/>
            <a:ext cx="3059530" cy="171204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30882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590696F-3DCB-404E-8786-0025755D34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you are linking to a third-party site</a:t>
            </a:r>
          </a:p>
          <a:p>
            <a:r>
              <a:rPr lang="en-US" dirty="0"/>
              <a:t>When you are linking to an ON24 webinar</a:t>
            </a:r>
          </a:p>
          <a:p>
            <a:r>
              <a:rPr lang="en-US" dirty="0"/>
              <a:t>When you are linking to a pdf</a:t>
            </a:r>
          </a:p>
          <a:p>
            <a:r>
              <a:rPr lang="en-US" b="1" dirty="0">
                <a:solidFill>
                  <a:schemeClr val="accent3"/>
                </a:solidFill>
              </a:rPr>
              <a:t>When you are linking to IQVIA.co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DECB151-9D4F-4ACC-9013-D940F5709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n do you use UTMs on your URL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0A7429-787A-413F-B01F-307D00F06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55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C3A55CD-7B7A-442F-AEFF-58C0B656FF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of every month</a:t>
            </a:r>
          </a:p>
          <a:p>
            <a:r>
              <a:rPr lang="en-US" dirty="0"/>
              <a:t>10</a:t>
            </a:r>
            <a:r>
              <a:rPr lang="en-US" baseline="30000" dirty="0"/>
              <a:t>th</a:t>
            </a:r>
            <a:r>
              <a:rPr lang="en-US" dirty="0"/>
              <a:t> of every month</a:t>
            </a:r>
          </a:p>
          <a:p>
            <a:r>
              <a:rPr lang="en-US" b="1" dirty="0">
                <a:solidFill>
                  <a:schemeClr val="accent3"/>
                </a:solidFill>
              </a:rPr>
              <a:t>10</a:t>
            </a:r>
            <a:r>
              <a:rPr lang="en-US" b="1" baseline="30000" dirty="0">
                <a:solidFill>
                  <a:schemeClr val="accent3"/>
                </a:solidFill>
              </a:rPr>
              <a:t>th</a:t>
            </a:r>
            <a:r>
              <a:rPr lang="en-US" b="1" dirty="0">
                <a:solidFill>
                  <a:schemeClr val="accent3"/>
                </a:solidFill>
              </a:rPr>
              <a:t> business day of the month</a:t>
            </a:r>
          </a:p>
          <a:p>
            <a:r>
              <a:rPr lang="en-US" dirty="0"/>
              <a:t>11</a:t>
            </a:r>
            <a:r>
              <a:rPr lang="en-US" baseline="30000" dirty="0"/>
              <a:t>th</a:t>
            </a:r>
            <a:r>
              <a:rPr lang="en-US" dirty="0"/>
              <a:t> of every mont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8823F7-9C5C-487E-9A19-62DB958CB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n can I expect monthly reporting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E3F052-6FB9-44D0-9035-349249AA1C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42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Rankings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Top campaigns + content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NNCs, MQLs, SQLs, SQL Amount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Highest conversion rat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Organic Search, Paid Search, Organic Social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Highest MQL acceptance rate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ents, Third Party Provider and Webinar MQLs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Top sources bringing in contacts to the database</a:t>
            </a:r>
            <a:endParaRPr lang="en-US" sz="1400" b="1">
              <a:solidFill>
                <a:schemeClr val="accent1"/>
              </a:solidFill>
            </a:endParaRP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tx1"/>
                </a:solidFill>
              </a:rPr>
              <a:t>DnB</a:t>
            </a:r>
            <a:r>
              <a:rPr lang="en-US" sz="1400">
                <a:solidFill>
                  <a:schemeClr val="tx1"/>
                </a:solidFill>
              </a:rPr>
              <a:t>, SFDC, Acquisitions, Gated form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F75E81-56B6-E9EB-1CB7-528536FBD4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1293" y="3130404"/>
            <a:ext cx="3287768" cy="18012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1468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E2B0C3C-1FF8-458B-9451-99D119856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Less than 60 characters</a:t>
            </a:r>
          </a:p>
          <a:p>
            <a:r>
              <a:rPr lang="en-US" dirty="0"/>
              <a:t>As many as you need</a:t>
            </a:r>
          </a:p>
          <a:p>
            <a:r>
              <a:rPr lang="en-US" dirty="0"/>
              <a:t>60 – 120 characters</a:t>
            </a:r>
          </a:p>
          <a:p>
            <a:r>
              <a:rPr lang="en-US" dirty="0"/>
              <a:t>121 – 160 charact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F6D87C-D129-42D3-8E0E-9A7CA6BAF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length of your email subject line should b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4131AC-FCEC-478F-9E0C-C6B76EB22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79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mail and landing page templates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BYO Tool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Video walkthrough, new BYO studio tool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Toolbox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ere to find the templates; Help section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Sub-brand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echnologies, </a:t>
            </a:r>
            <a:r>
              <a:rPr lang="en-US" sz="1400" err="1">
                <a:solidFill>
                  <a:schemeClr val="tx1"/>
                </a:solidFill>
              </a:rPr>
              <a:t>Medtech</a:t>
            </a:r>
            <a:r>
              <a:rPr lang="en-US" sz="1400">
                <a:solidFill>
                  <a:schemeClr val="tx1"/>
                </a:solidFill>
              </a:rPr>
              <a:t>, Consumer Health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Email and Landing Pages</a:t>
            </a:r>
            <a:endParaRPr lang="en-US" sz="1400" b="1">
              <a:solidFill>
                <a:schemeClr val="accent1"/>
              </a:solidFill>
            </a:endParaRP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Updates to Eloqua templates and layouts; Banners and BYO email body imag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CBF95D-A513-769F-6D57-2C4B8C2301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616" y="3065467"/>
            <a:ext cx="3190335" cy="17698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8990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QVIA.com Redesign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How to continue improving our website experience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move outdated content, report problems/bugs, send your idea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New templat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ference and use the new template modules for any new publishing request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Highlighting the new features, how to use them and best practice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ebinar/Event, MQL Form Submits, External Activity File Uploads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IQVIA.com Redesign</a:t>
            </a:r>
            <a:endParaRPr lang="en-US" sz="1400" b="1">
              <a:solidFill>
                <a:schemeClr val="accent1"/>
              </a:solidFill>
            </a:endParaRP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c 16, 2022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23DC2-DE81-377F-7D4D-16AE5903D7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8772" y="3130404"/>
            <a:ext cx="3161975" cy="165647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41842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WS Global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Hybrid form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Free content and MQL from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Strategy to increase MQLs in 2023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Focusing Emails on MQL generation, expanding Eloqua efforts, staying in market, integrate with other channel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3 email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Nurturing conference audiences directing to landing pages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Their top campaign generating 138 MQLs</a:t>
            </a:r>
            <a:endParaRPr lang="en-US" sz="1400" b="1">
              <a:solidFill>
                <a:schemeClr val="accent1"/>
              </a:solidFill>
            </a:endParaRP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Q1Nurture email campaign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94FD46-0434-D565-EFBB-710272A63F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4791" y="3055481"/>
            <a:ext cx="3087857" cy="17396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551674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Welcome</a:t>
            </a:r>
          </a:p>
          <a:p>
            <a:r>
              <a:rPr lang="en-US"/>
              <a:t>Review of 2023</a:t>
            </a:r>
            <a:endParaRPr lang="en-US" i="1"/>
          </a:p>
          <a:p>
            <a:r>
              <a:rPr lang="en-US"/>
              <a:t>Open Q&amp;A/Discu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6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O best practices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Elements of SEO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Internal linking / anchor links, keyword research, backlinks, on page SEO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How google ranks websit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rawling, Indexing and Ranking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Organic vs Paid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Visual results from both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What is SEO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Search Engine Optimization is the process of increasing traffic to a webpage through non-paid search engine results.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42A5A8-7F20-D641-0045-24255E6406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49" y="3070020"/>
            <a:ext cx="3348446" cy="182175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04249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ffective use of MQL forms in campaigns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Best practic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One objective, target specific audience, short, attention-grabbing titles/headlines, relevant image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Top 3 landing pages driving MQL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Biotech, US, RW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Required field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List out all required fields for each form type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3 Form Types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Non-MQL, MQL and Hybrid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36A548-1FC0-2F13-DB4A-85E2ABE2E1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476" y="3061227"/>
            <a:ext cx="3242731" cy="176976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18545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timizing website requests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</p:cNvCxnSpPr>
          <p:nvPr/>
        </p:nvCxnSpPr>
        <p:spPr>
          <a:xfrm flipV="1">
            <a:off x="3800840" y="3368710"/>
            <a:ext cx="620101" cy="2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Shout out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xamples of users submitting optimal request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Resource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oolbox, </a:t>
            </a:r>
            <a:r>
              <a:rPr lang="en-US" sz="1400" err="1">
                <a:solidFill>
                  <a:schemeClr val="tx1"/>
                </a:solidFill>
              </a:rPr>
              <a:t>Brandworld</a:t>
            </a:r>
            <a:r>
              <a:rPr lang="en-US" sz="1400">
                <a:solidFill>
                  <a:schemeClr val="tx1"/>
                </a:solidFill>
              </a:rPr>
              <a:t>, SEO best practice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10228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Key elements of a request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porting group, tagging, taxonomy and SEO, The file(s)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Research and strategy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Approved content, unique content, connecting content, keyword research, inspiration, goal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23B95D-5EF2-5D3C-C4DC-48D2FD6C5B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968" y="3047601"/>
            <a:ext cx="3255696" cy="18049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6254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toolbox and marketer dashboard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</p:cNvCxnSpPr>
          <p:nvPr/>
        </p:nvCxnSpPr>
        <p:spPr>
          <a:xfrm flipV="1">
            <a:off x="3800840" y="3368710"/>
            <a:ext cx="620101" cy="2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Marketer Dashboard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View request details, converse with marketing ops, add attachments, single location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Old to New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alkthrough of the toolbox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10228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Operational plan </a:t>
            </a: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Reporting Enhancements, Website Request Forms, Paid Social Forms, Organic Social Forms, Site Redesign, LEAN Productivity Updates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724025"/>
            <a:ext cx="7735455" cy="8012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Strategy of toolbox redesign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400">
                <a:solidFill>
                  <a:schemeClr val="tx1"/>
                </a:solidFill>
              </a:rPr>
              <a:t>For marketers, for marketing ops, for reporting/metrics, LEAN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DAAD05-FB50-0A95-5B41-BBE80E94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9871" y="3099634"/>
            <a:ext cx="3093057" cy="16642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76880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E5192-E29F-034C-F62E-AB0DDE4A8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d details on these topics in the Marketing Operations Toolbo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23214A-A14F-E060-3BF5-68E86FC4B0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905494DE-F0F6-C46B-DE0F-52E4C000D5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7536" y="1328800"/>
            <a:ext cx="5272876" cy="479298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79403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C75417-258C-484F-B388-D2051E1AD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topics do you want to see more of next year? (word clou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4C236E-E592-49E6-8D8E-D3A71173B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2B1B5C-3519-6092-8E83-B3263479F9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283" y="2073899"/>
            <a:ext cx="10151462" cy="252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5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0C591F6-0C2D-42D1-AA2A-C0271F2AA4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8424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C83875-BE3D-467D-B2CE-37C26280C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01201" cy="4994125"/>
          </a:xfrm>
        </p:spPr>
        <p:txBody>
          <a:bodyPr/>
          <a:lstStyle/>
          <a:p>
            <a:r>
              <a:rPr lang="en-US"/>
              <a:t>Get your questions answered by the marketing operations team.  Open Office Hours are held monthly with the following agenda:</a:t>
            </a:r>
          </a:p>
          <a:p>
            <a:pPr lvl="1"/>
            <a:r>
              <a:rPr lang="en-US"/>
              <a:t>Learn about a tip or best practice  </a:t>
            </a:r>
          </a:p>
          <a:p>
            <a:pPr lvl="1"/>
            <a:r>
              <a:rPr lang="en-US"/>
              <a:t>Ask a question – Pre-submit your questions </a:t>
            </a:r>
            <a:r>
              <a:rPr lang="en-US" u="sng">
                <a:hlinkClick r:id="rId2"/>
              </a:rPr>
              <a:t>here</a:t>
            </a:r>
            <a:r>
              <a:rPr lang="en-US" u="sng"/>
              <a:t> </a:t>
            </a:r>
            <a:r>
              <a:rPr lang="en-US"/>
              <a:t>or ask during the office hours</a:t>
            </a:r>
            <a:endParaRPr lang="en-US">
              <a:cs typeface="Arial"/>
            </a:endParaRPr>
          </a:p>
          <a:p>
            <a:pPr lvl="1"/>
            <a:r>
              <a:rPr lang="en-US"/>
              <a:t>Learn how to leverage IQVIA’s marketing systems and processes most effectively</a:t>
            </a:r>
            <a:endParaRPr lang="en-US">
              <a:cs typeface="Arial"/>
            </a:endParaRPr>
          </a:p>
          <a:p>
            <a:pPr lvl="1"/>
            <a:endParaRPr lang="en-US"/>
          </a:p>
          <a:p>
            <a:r>
              <a:rPr lang="en-US" b="1" u="sng"/>
              <a:t>Action:</a:t>
            </a:r>
            <a:r>
              <a:rPr lang="en-US" b="1"/>
              <a:t> </a:t>
            </a:r>
            <a:r>
              <a:rPr lang="en-US"/>
              <a:t>Sign up </a:t>
            </a:r>
            <a:r>
              <a:rPr lang="en-US">
                <a:hlinkClick r:id="rId3"/>
              </a:rPr>
              <a:t>here</a:t>
            </a:r>
            <a:r>
              <a:rPr lang="en-US"/>
              <a:t>, if you need to be added to the outlook invite</a:t>
            </a:r>
            <a:endParaRPr lang="en-US">
              <a:cs typeface="Arial"/>
            </a:endParaRPr>
          </a:p>
          <a:p>
            <a:endParaRPr lang="en-GB"/>
          </a:p>
          <a:p>
            <a:r>
              <a:rPr lang="en-US" b="1" u="sng">
                <a:cs typeface="Arial"/>
              </a:rPr>
              <a:t>Reminder: </a:t>
            </a:r>
            <a:r>
              <a:rPr lang="en-US">
                <a:cs typeface="Arial"/>
              </a:rPr>
              <a:t>Save your questions for the end or enter in the chat. We will address as many as we can!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66DA9-F784-418C-B439-6F6DAF88D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ing Operations Open Office Hours 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F36190-781E-4144-9865-7D0153FAF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9890" y="1733835"/>
            <a:ext cx="4534533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34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5D099B2-AB8B-42B7-A4D8-23572E416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1375846"/>
            <a:ext cx="11338560" cy="768263"/>
          </a:xfrm>
        </p:spPr>
        <p:txBody>
          <a:bodyPr/>
          <a:lstStyle/>
          <a:p>
            <a:pPr algn="l"/>
            <a:r>
              <a:rPr lang="en-US"/>
              <a:t>Let’s create a word cloud to celebrate our achievements and challenges!</a:t>
            </a:r>
            <a:br>
              <a:rPr lang="en-US"/>
            </a:br>
            <a:br>
              <a:rPr lang="en-US"/>
            </a:br>
            <a:r>
              <a:rPr lang="en-US"/>
              <a:t>What 3 words best capture your marketing journey in 2023? </a:t>
            </a:r>
            <a:br>
              <a:rPr lang="en-US"/>
            </a:br>
            <a:r>
              <a:rPr lang="en-US" b="0">
                <a:solidFill>
                  <a:srgbClr val="4F5C65"/>
                </a:solidFill>
                <a:latin typeface="Rubik"/>
              </a:rPr>
              <a:t>(word cloud)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10077-DF74-4414-A60D-6FAC97B28E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0F7192-09C9-2BDD-E089-E8765C8A1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7909" y="2298102"/>
            <a:ext cx="8117700" cy="224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07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B6BAE5-3F14-4C42-A2D8-EBED5C545E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IQVIA.com webpage viewer</a:t>
            </a:r>
          </a:p>
          <a:p>
            <a:r>
              <a:rPr lang="en-US" dirty="0"/>
              <a:t>Downloader</a:t>
            </a:r>
          </a:p>
          <a:p>
            <a:r>
              <a:rPr lang="en-US" b="1" dirty="0">
                <a:solidFill>
                  <a:schemeClr val="accent3"/>
                </a:solidFill>
              </a:rPr>
              <a:t>Hand raiser </a:t>
            </a:r>
          </a:p>
          <a:p>
            <a:r>
              <a:rPr lang="en-US" dirty="0"/>
              <a:t>Email Clicker</a:t>
            </a:r>
          </a:p>
          <a:p>
            <a:r>
              <a:rPr lang="en-US" dirty="0"/>
              <a:t>LinkedIn Post Liker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9ECDE-291D-49F9-8A7E-765617402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ich criteria best defines an IQVIA MQL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D3EDC-362D-461A-BEC9-8871900A76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06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2973A1-1B85-4766-A53D-B7179D290F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jected by sales</a:t>
            </a:r>
          </a:p>
          <a:p>
            <a:r>
              <a:rPr lang="en-US" b="1" dirty="0">
                <a:solidFill>
                  <a:schemeClr val="accent3"/>
                </a:solidFill>
              </a:rPr>
              <a:t>Accepted by sales</a:t>
            </a:r>
          </a:p>
          <a:p>
            <a:r>
              <a:rPr lang="en-US" dirty="0"/>
              <a:t>Marked as marketing to nurture</a:t>
            </a:r>
          </a:p>
          <a:p>
            <a:r>
              <a:rPr lang="en-US" dirty="0"/>
              <a:t>Converted to an SQL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430940-32C4-4AE2-9667-B0AFA73C3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Marketing Qualified Lead must be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9D096A-F5DC-48A3-93C3-918B80467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2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452A406-D4DD-4244-A035-0B85CBF72C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Related to</a:t>
            </a:r>
          </a:p>
          <a:p>
            <a:r>
              <a:rPr lang="en-US" dirty="0"/>
              <a:t>Opportunity</a:t>
            </a:r>
          </a:p>
          <a:p>
            <a:r>
              <a:rPr lang="en-US" dirty="0"/>
              <a:t>Primary Campaign Source</a:t>
            </a:r>
          </a:p>
          <a:p>
            <a:r>
              <a:rPr lang="en-US" dirty="0"/>
              <a:t>Campaign Name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66BFB3-DC74-45DC-AD8D-022ED65E9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the name of the field used to link MQLs to Opportunitie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A57C93-DB66-49C2-AACF-5D28E7862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16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>
            <a:extLst>
              <a:ext uri="{FF2B5EF4-FFF2-40B4-BE49-F238E27FC236}">
                <a16:creationId xmlns:a16="http://schemas.microsoft.com/office/drawing/2014/main" id="{05C0FFC0-1820-4C27-99ED-7910C0A58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5" name="Object 114" hidden="1">
                        <a:extLst>
                          <a:ext uri="{FF2B5EF4-FFF2-40B4-BE49-F238E27FC236}">
                            <a16:creationId xmlns:a16="http://schemas.microsoft.com/office/drawing/2014/main" id="{05C0FFC0-1820-4C27-99ED-7910C0A58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7D0B83-6811-44A4-824C-C23949DD9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derstanding the MQL Journey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FB99E3F7-AC5A-4D2B-96D7-FCF188225632}"/>
              </a:ext>
            </a:extLst>
          </p:cNvPr>
          <p:cNvSpPr>
            <a:spLocks noChangeAspect="1"/>
          </p:cNvSpPr>
          <p:nvPr/>
        </p:nvSpPr>
        <p:spPr>
          <a:xfrm>
            <a:off x="2788308" y="1696835"/>
            <a:ext cx="868680" cy="868680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Bef>
                <a:spcPts val="300"/>
              </a:spcBef>
            </a:pPr>
            <a:endParaRPr lang="en-US" sz="1400" b="1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4B2A88-18F6-4CBD-A14A-2D98301F4710}"/>
              </a:ext>
            </a:extLst>
          </p:cNvPr>
          <p:cNvSpPr/>
          <p:nvPr/>
        </p:nvSpPr>
        <p:spPr>
          <a:xfrm>
            <a:off x="485775" y="2737112"/>
            <a:ext cx="2381250" cy="2381250"/>
          </a:xfrm>
          <a:prstGeom prst="ellipse">
            <a:avLst/>
          </a:prstGeom>
          <a:solidFill>
            <a:srgbClr val="CACED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endParaRPr lang="en-US" b="1">
              <a:solidFill>
                <a:schemeClr val="tx1"/>
              </a:solidFill>
            </a:endParaRPr>
          </a:p>
          <a:p>
            <a:pPr algn="ctr"/>
            <a:r>
              <a:rPr lang="en-US" b="1">
                <a:solidFill>
                  <a:schemeClr val="tx1"/>
                </a:solidFill>
              </a:rPr>
              <a:t>Header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AE0CF820-B3DD-414A-B324-5D8A73F613CE}"/>
              </a:ext>
            </a:extLst>
          </p:cNvPr>
          <p:cNvSpPr/>
          <p:nvPr/>
        </p:nvSpPr>
        <p:spPr>
          <a:xfrm>
            <a:off x="-647700" y="1724025"/>
            <a:ext cx="4400550" cy="4400550"/>
          </a:xfrm>
          <a:prstGeom prst="arc">
            <a:avLst>
              <a:gd name="adj1" fmla="val 16723568"/>
              <a:gd name="adj2" fmla="val 4952784"/>
            </a:avLst>
          </a:prstGeom>
          <a:ln w="38100" cap="rnd">
            <a:solidFill>
              <a:srgbClr val="959C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3A4E19A-66AD-4399-9AD8-F3EA34E1B460}"/>
              </a:ext>
            </a:extLst>
          </p:cNvPr>
          <p:cNvSpPr>
            <a:spLocks/>
          </p:cNvSpPr>
          <p:nvPr/>
        </p:nvSpPr>
        <p:spPr>
          <a:xfrm>
            <a:off x="2665364" y="1979606"/>
            <a:ext cx="275420" cy="2754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76BF219-CF71-4F80-BAAC-461E5800260D}"/>
              </a:ext>
            </a:extLst>
          </p:cNvPr>
          <p:cNvSpPr>
            <a:spLocks/>
          </p:cNvSpPr>
          <p:nvPr/>
        </p:nvSpPr>
        <p:spPr>
          <a:xfrm>
            <a:off x="3525420" y="3231002"/>
            <a:ext cx="275420" cy="2754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A4B1AD-2ECE-4375-987E-77B5D8E4E570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2940784" y="2117316"/>
            <a:ext cx="1138235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D54713-6B51-46C3-BEA4-BA1039B4E155}"/>
              </a:ext>
            </a:extLst>
          </p:cNvPr>
          <p:cNvCxnSpPr>
            <a:cxnSpLocks/>
            <a:stCxn id="53" idx="6"/>
            <a:endCxn id="203" idx="1"/>
          </p:cNvCxnSpPr>
          <p:nvPr/>
        </p:nvCxnSpPr>
        <p:spPr>
          <a:xfrm>
            <a:off x="3800840" y="3368712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4BF10C-2A52-4206-8B93-16ADA0100B54}"/>
              </a:ext>
            </a:extLst>
          </p:cNvPr>
          <p:cNvCxnSpPr>
            <a:cxnSpLocks/>
            <a:endCxn id="200" idx="1"/>
          </p:cNvCxnSpPr>
          <p:nvPr/>
        </p:nvCxnSpPr>
        <p:spPr>
          <a:xfrm>
            <a:off x="3800840" y="4620108"/>
            <a:ext cx="620101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A6E94C-9585-4B48-8051-1742A4122D91}"/>
              </a:ext>
            </a:extLst>
          </p:cNvPr>
          <p:cNvCxnSpPr>
            <a:cxnSpLocks/>
            <a:endCxn id="140" idx="1"/>
          </p:cNvCxnSpPr>
          <p:nvPr/>
        </p:nvCxnSpPr>
        <p:spPr>
          <a:xfrm>
            <a:off x="2735715" y="5871503"/>
            <a:ext cx="1262244" cy="0"/>
          </a:xfrm>
          <a:prstGeom prst="line">
            <a:avLst/>
          </a:prstGeom>
          <a:ln w="19050" cap="rnd">
            <a:solidFill>
              <a:srgbClr val="CACED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56D5B516-6686-4887-BC5A-75838321BF92}"/>
              </a:ext>
            </a:extLst>
          </p:cNvPr>
          <p:cNvSpPr/>
          <p:nvPr/>
        </p:nvSpPr>
        <p:spPr>
          <a:xfrm>
            <a:off x="3997959" y="5463540"/>
            <a:ext cx="7725295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3"/>
                </a:solidFill>
              </a:rPr>
              <a:t>Linking opportunities to MQLs</a:t>
            </a:r>
            <a:endParaRPr lang="en-US" sz="1400" b="1">
              <a:solidFill>
                <a:schemeClr val="accent3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nsure “Related To” field has </a:t>
            </a:r>
            <a:r>
              <a:rPr lang="en-US" sz="1400" err="1">
                <a:solidFill>
                  <a:schemeClr val="tx1"/>
                </a:solidFill>
              </a:rPr>
              <a:t>opp</a:t>
            </a:r>
            <a:r>
              <a:rPr lang="en-US" sz="1400">
                <a:solidFill>
                  <a:schemeClr val="tx1"/>
                </a:solidFill>
              </a:rPr>
              <a:t> name on the MQL Task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B1F48026-506B-4358-B1B5-79C10A4A2FAC}"/>
              </a:ext>
            </a:extLst>
          </p:cNvPr>
          <p:cNvSpPr/>
          <p:nvPr/>
        </p:nvSpPr>
        <p:spPr>
          <a:xfrm>
            <a:off x="4420941" y="4212145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</a:rPr>
              <a:t>Inside sales follow-up process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iage - &gt; Outreach - &gt; Opportunity Creation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32362286-4DEF-4745-94C7-B53F1F3BE88A}"/>
              </a:ext>
            </a:extLst>
          </p:cNvPr>
          <p:cNvSpPr/>
          <p:nvPr/>
        </p:nvSpPr>
        <p:spPr>
          <a:xfrm>
            <a:off x="4420941" y="2960749"/>
            <a:ext cx="7302313" cy="81592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2"/>
                </a:solidFill>
              </a:rPr>
              <a:t>MQL generating campaigns</a:t>
            </a:r>
            <a:endParaRPr lang="en-US" sz="1400" b="1">
              <a:solidFill>
                <a:schemeClr val="accent2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ebinar/Event, MQL Form Submits, External Activity File Uploads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8EAB3AD8-003A-4A0A-9E3B-43C62040C9E4}"/>
              </a:ext>
            </a:extLst>
          </p:cNvPr>
          <p:cNvSpPr/>
          <p:nvPr/>
        </p:nvSpPr>
        <p:spPr>
          <a:xfrm>
            <a:off x="3987799" y="1359673"/>
            <a:ext cx="7735455" cy="11656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rgbClr val="CACE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endParaRPr lang="en-US" sz="16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</a:rPr>
              <a:t>MQL definition</a:t>
            </a:r>
            <a:endParaRPr lang="en-US" sz="1400" b="1">
              <a:solidFill>
                <a:schemeClr val="accent1"/>
              </a:solidFill>
            </a:endParaRPr>
          </a:p>
          <a:p>
            <a:pPr algn="l">
              <a:spcAft>
                <a:spcPts val="300"/>
              </a:spcAft>
            </a:pPr>
            <a:r>
              <a:rPr lang="en-US" sz="1100">
                <a:solidFill>
                  <a:schemeClr val="tx1"/>
                </a:solidFill>
              </a:rPr>
              <a:t>A prospect/customer identified by marketing that fits a defined profile and level of engagement agreed to by both marketing and sales and is ready to be turned over for sales activity. Most importantly, the prospect/customer is accepted by sales for further qualification. We focus on hand-raisers. If a prospect/customer is a “hand-raiser” they have explicitly asked up to follow-up on a specific business need and/or indicated an upcoming RFP </a:t>
            </a: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182880" indent="-18288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2074687-32BC-447B-B4F5-4471DCE4D8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94393" y="3413348"/>
            <a:ext cx="764014" cy="764014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75C42582-E50F-40B2-9644-44AFF8EA8670}"/>
              </a:ext>
            </a:extLst>
          </p:cNvPr>
          <p:cNvSpPr>
            <a:spLocks/>
          </p:cNvSpPr>
          <p:nvPr/>
        </p:nvSpPr>
        <p:spPr>
          <a:xfrm>
            <a:off x="2460295" y="5733793"/>
            <a:ext cx="275420" cy="27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A6D8B44-A077-4197-8013-993A556E8075}"/>
              </a:ext>
            </a:extLst>
          </p:cNvPr>
          <p:cNvSpPr>
            <a:spLocks/>
          </p:cNvSpPr>
          <p:nvPr/>
        </p:nvSpPr>
        <p:spPr>
          <a:xfrm>
            <a:off x="3525420" y="4482398"/>
            <a:ext cx="275420" cy="275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4FC22B-41A6-0F20-D413-EF5E0594F7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736" y="3123519"/>
            <a:ext cx="3073138" cy="17152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43676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A00AAC3-1A27-4D69-BE9B-09CFF61C1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blog</a:t>
            </a:r>
          </a:p>
          <a:p>
            <a:r>
              <a:rPr lang="en-US"/>
              <a:t>podcast</a:t>
            </a:r>
          </a:p>
          <a:p>
            <a:r>
              <a:rPr lang="en-US"/>
              <a:t>video</a:t>
            </a:r>
          </a:p>
          <a:p>
            <a:r>
              <a:rPr lang="en-US"/>
              <a:t>email</a:t>
            </a:r>
          </a:p>
          <a:p>
            <a:r>
              <a:rPr lang="en-US"/>
              <a:t>social </a:t>
            </a:r>
          </a:p>
          <a:p>
            <a:r>
              <a:rPr lang="en-US"/>
              <a:t>article</a:t>
            </a:r>
          </a:p>
          <a:p>
            <a:r>
              <a:rPr lang="en-US"/>
              <a:t>infographic</a:t>
            </a:r>
          </a:p>
          <a:p>
            <a:r>
              <a:rPr lang="en-US"/>
              <a:t>power point</a:t>
            </a:r>
          </a:p>
          <a:p>
            <a:r>
              <a:rPr lang="en-US"/>
              <a:t>printed book</a:t>
            </a:r>
          </a:p>
          <a:p>
            <a:r>
              <a:rPr lang="en-US"/>
              <a:t>audiobook</a:t>
            </a:r>
          </a:p>
          <a:p>
            <a:r>
              <a:rPr lang="en-US"/>
              <a:t>AI chatbot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C75417-258C-484F-B388-D2051E1AD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your favorite way to consume conten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4C236E-E592-49E6-8D8E-D3A71173B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5C6007-5951-F783-9753-501C6B4BA5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58" b="23382"/>
          <a:stretch/>
        </p:blipFill>
        <p:spPr>
          <a:xfrm>
            <a:off x="4176588" y="1498059"/>
            <a:ext cx="5605960" cy="3852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17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FE025FB-4FFF-43C4-B74A-72E2B943AA74}" vid="{A13946E2-50B1-487F-BE47-AE46593BA7DA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CheckIn_x0020_Workflow xmlns="a60e5538-65d5-40b2-995c-731e9579326c">
      <Url xsi:nil="true"/>
      <Description xsi:nil="true"/>
    </CheckIn_x0020_Workflow>
    <lcf76f155ced4ddcb4097134ff3c332f xmlns="a60e5538-65d5-40b2-995c-731e9579326c">
      <Terms xmlns="http://schemas.microsoft.com/office/infopath/2007/PartnerControls"/>
    </lcf76f155ced4ddcb4097134ff3c332f>
    <yeak xmlns="a60e5538-65d5-40b2-995c-731e9579326c" xsi:nil="true"/>
    <TaxCatchAll xmlns="fbbcf6ee-9fbd-400c-b917-9fe3efcb3dea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33" ma:contentTypeDescription="Create a new document." ma:contentTypeScope="" ma:versionID="dec7e21fa23d6ae5e9debae5c7ec6b29">
  <xsd:schema xmlns:xsd="http://www.w3.org/2001/XMLSchema" xmlns:xs="http://www.w3.org/2001/XMLSchema" xmlns:p="http://schemas.microsoft.com/office/2006/metadata/properties" xmlns:ns1="http://schemas.microsoft.com/sharepoint/v3" xmlns:ns2="58efb1c5-837f-45ae-93da-6370a20ee6c7" xmlns:ns3="a60e5538-65d5-40b2-995c-731e9579326c" xmlns:ns4="fbbcf6ee-9fbd-400c-b917-9fe3efcb3dea" targetNamespace="http://schemas.microsoft.com/office/2006/metadata/properties" ma:root="true" ma:fieldsID="d6b07afc582cfd12583675483f0eac61" ns1:_="" ns2:_="" ns3:_="" ns4:_="">
    <xsd:import namespace="http://schemas.microsoft.com/sharepoint/v3"/>
    <xsd:import namespace="58efb1c5-837f-45ae-93da-6370a20ee6c7"/>
    <xsd:import namespace="a60e5538-65d5-40b2-995c-731e9579326c"/>
    <xsd:import namespace="fbbcf6ee-9fbd-400c-b917-9fe3efcb3de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DocTag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9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ocTags" ma:index="31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bcf6ee-9fbd-400c-b917-9fe3efcb3dea" elementFormDefault="qualified">
    <xsd:import namespace="http://schemas.microsoft.com/office/2006/documentManagement/types"/>
    <xsd:import namespace="http://schemas.microsoft.com/office/infopath/2007/PartnerControls"/>
    <xsd:element name="TaxCatchAll" ma:index="30" nillable="true" ma:displayName="Taxonomy Catch All Column" ma:hidden="true" ma:list="{ee3d0cc3-99b5-478e-8db0-6e2a5d0226ab}" ma:internalName="TaxCatchAll" ma:showField="CatchAllData" ma:web="58efb1c5-837f-45ae-93da-6370a20ee6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F6502F-8087-48D7-8FA7-55560A8582F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830D6A-C0D7-4B23-9904-F177CB8E89E3}">
  <ds:schemaRefs>
    <ds:schemaRef ds:uri="http://schemas.microsoft.com/office/2006/metadata/properties"/>
    <ds:schemaRef ds:uri="http://schemas.microsoft.com/sharepoint/v3"/>
    <ds:schemaRef ds:uri="58efb1c5-837f-45ae-93da-6370a20ee6c7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a60e5538-65d5-40b2-995c-731e9579326c"/>
    <ds:schemaRef ds:uri="http://purl.org/dc/elements/1.1/"/>
    <ds:schemaRef ds:uri="http://schemas.openxmlformats.org/package/2006/metadata/core-properties"/>
    <ds:schemaRef ds:uri="fbbcf6ee-9fbd-400c-b917-9fe3efcb3dea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D5202DC-A46E-4BA8-8A4D-D2232B2168B9}">
  <ds:schemaRefs>
    <ds:schemaRef ds:uri="58efb1c5-837f-45ae-93da-6370a20ee6c7"/>
    <ds:schemaRef ds:uri="a60e5538-65d5-40b2-995c-731e9579326c"/>
    <ds:schemaRef ds:uri="fbbcf6ee-9fbd-400c-b917-9fe3efcb3d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QVIA 2023</Template>
  <TotalTime>6</TotalTime>
  <Words>1077</Words>
  <Application>Microsoft Office PowerPoint</Application>
  <PresentationFormat>Widescreen</PresentationFormat>
  <Paragraphs>249</Paragraphs>
  <Slides>2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Arial Narrow</vt:lpstr>
      <vt:lpstr>Georgia</vt:lpstr>
      <vt:lpstr>Rubik</vt:lpstr>
      <vt:lpstr>System Font Regular</vt:lpstr>
      <vt:lpstr>Wingdings</vt:lpstr>
      <vt:lpstr>IQVIA_V2.1.0</vt:lpstr>
      <vt:lpstr>think-cell Slide</vt:lpstr>
      <vt:lpstr>Marketing Operations</vt:lpstr>
      <vt:lpstr>Agenda</vt:lpstr>
      <vt:lpstr>Marketing Operations Open Office Hours </vt:lpstr>
      <vt:lpstr>Let’s create a word cloud to celebrate our achievements and challenges!  What 3 words best capture your marketing journey in 2023?  (word cloud)</vt:lpstr>
      <vt:lpstr>Which criteria best defines an IQVIA MQL?</vt:lpstr>
      <vt:lpstr>A Marketing Qualified Lead must be </vt:lpstr>
      <vt:lpstr>What is the name of the field used to link MQLs to Opportunities?</vt:lpstr>
      <vt:lpstr>Understanding the MQL Journey</vt:lpstr>
      <vt:lpstr>What is your favorite way to consume content?</vt:lpstr>
      <vt:lpstr>How many IQVIA personas are there?</vt:lpstr>
      <vt:lpstr>What criteria can you segment on and target?</vt:lpstr>
      <vt:lpstr>The art and science of segmentation</vt:lpstr>
      <vt:lpstr>When do you use UTMs on your URLs?</vt:lpstr>
      <vt:lpstr>When can I expect monthly reporting?</vt:lpstr>
      <vt:lpstr>Top Rankings</vt:lpstr>
      <vt:lpstr>The length of your email subject line should be</vt:lpstr>
      <vt:lpstr>Email and landing page templates</vt:lpstr>
      <vt:lpstr>IQVIA.com Redesign</vt:lpstr>
      <vt:lpstr>RWS Global</vt:lpstr>
      <vt:lpstr>SEO best practices</vt:lpstr>
      <vt:lpstr>Effective use of MQL forms in campaigns</vt:lpstr>
      <vt:lpstr>Optimizing website requests</vt:lpstr>
      <vt:lpstr>Marketing operations toolbox and marketer dashboard</vt:lpstr>
      <vt:lpstr>Find details on these topics in the Marketing Operations Toolbox</vt:lpstr>
      <vt:lpstr>What topics do you want to see more of next year? (word cloud)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Operations</dc:title>
  <dc:creator>Cuff, Phil</dc:creator>
  <cp:lastModifiedBy>Cuff, Phil</cp:lastModifiedBy>
  <cp:revision>3</cp:revision>
  <cp:lastPrinted>2019-08-20T20:33:24Z</cp:lastPrinted>
  <dcterms:created xsi:type="dcterms:W3CDTF">2023-01-12T09:14:58Z</dcterms:created>
  <dcterms:modified xsi:type="dcterms:W3CDTF">2023-12-15T16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  <property fmtid="{D5CDD505-2E9C-101B-9397-08002B2CF9AE}" pid="3" name="MediaServiceImageTags">
    <vt:lpwstr/>
  </property>
</Properties>
</file>